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12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80" r:id="rId11"/>
  </p:sldIdLst>
  <p:sldSz cx="12192000" cy="6858000"/>
  <p:notesSz cx="6858000" cy="9144000"/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107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59642" autoAdjust="0"/>
  </p:normalViewPr>
  <p:slideViewPr>
    <p:cSldViewPr snapToGrid="0" showGuides="1">
      <p:cViewPr varScale="1">
        <p:scale>
          <a:sx n="72" d="100"/>
          <a:sy n="72" d="100"/>
        </p:scale>
        <p:origin x="2371" y="67"/>
      </p:cViewPr>
      <p:guideLst>
        <p:guide pos="3840"/>
        <p:guide orient="horz" pos="107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AD1FC442-79DA-4C9F-836F-0CB1972FE134}" type="datetimeFigureOut">
              <a:rPr lang="de-DE"/>
              <a:t>16.01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008EC0F0-6FEC-4115-A888-5C6E15144039}" type="slidenum">
              <a:rPr lang="de-DE"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Diese Folie ist ausgeblendet und sollte es auch bleiben. 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Sie ist nur für die Lehrkräfte gedacht, die den medienpädagogischen Elternabend  zum Thema „Chancen von KI-Anwendungen in der Schule“ durchführen.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Auf dieser Folie finden Sie Tipps, Hinweise und Hintergrundinformationen, die Ihnen die erfolgreiche Gestaltung dieses Elternabends erleichtern. 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/>
              <a:t>Überblicksfoli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Ggf. Beispiele aus der Unterrichtspraxis zur Arbeit mit KI-Anwendungen nennen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B0E543F-3721-55E1-20C2-710B891310B7}" type="slidenum">
              <a:rPr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ernbotschaf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Schule geht </a:t>
            </a:r>
            <a:r>
              <a:rPr lang="de-DE" b="1"/>
              <a:t>verantwortungsvoll</a:t>
            </a:r>
            <a:r>
              <a:rPr lang="de-DE"/>
              <a:t> mit KI um; Einsatz nur </a:t>
            </a:r>
            <a:r>
              <a:rPr lang="de-DE" b="1"/>
              <a:t>datenschutzkonformer</a:t>
            </a:r>
            <a:r>
              <a:rPr lang="de-DE"/>
              <a:t> Anwendung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</a:t>
            </a:r>
            <a:r>
              <a:rPr lang="de-DE" b="1"/>
              <a:t>ersetzt keine Lehrkraft</a:t>
            </a:r>
            <a:r>
              <a:rPr lang="de-DE"/>
              <a:t>; sie </a:t>
            </a:r>
            <a:r>
              <a:rPr lang="de-DE" b="1"/>
              <a:t>unterstützt Lernprozesse</a:t>
            </a:r>
            <a:r>
              <a:rPr lang="de-DE"/>
              <a:t>. Die LK bleibt </a:t>
            </a:r>
            <a:r>
              <a:rPr lang="de-DE" b="1"/>
              <a:t>pädagogische Entscheidungsinstanz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orgen der Erziehungsberechtigten</a:t>
            </a:r>
            <a:r>
              <a:rPr lang="de-DE"/>
              <a:t> aktiv einladen und ernst nehmen; Raum für Fragen schaff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Den Sorgen mit </a:t>
            </a:r>
            <a:r>
              <a:rPr lang="de-DE" b="1"/>
              <a:t>klaren Argumenten</a:t>
            </a:r>
            <a:r>
              <a:rPr lang="de-DE"/>
              <a:t> begegnen: Datenschutzmaßnahmen, begrenzter/zweckgebundener Einsatz, pädagogische Begleitung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(Übergang) → „Es gibt klare Leitplanken, an die wir uns halten.“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endParaRPr lang="de-DE" b="1"/>
          </a:p>
          <a:p>
            <a:pPr marL="171450" indent="-171450">
              <a:buFont typeface="Arial"/>
              <a:buChar char="•"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Hintergrund (nur für Referierende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Rahmenbedingungen</a:t>
            </a:r>
            <a:r>
              <a:rPr lang="de-DE"/>
              <a:t> für den KI-Einsatz: gemäß </a:t>
            </a:r>
            <a:r>
              <a:rPr lang="de-DE" b="1"/>
              <a:t>Handlungsleitfaden des StMUK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Prüfprinzipien: </a:t>
            </a:r>
            <a:r>
              <a:rPr lang="de-DE" b="1"/>
              <a:t>Zweckbindung</a:t>
            </a:r>
            <a:r>
              <a:rPr lang="de-DE"/>
              <a:t>, </a:t>
            </a:r>
            <a:r>
              <a:rPr lang="de-DE" b="1"/>
              <a:t>Datenminimierung</a:t>
            </a:r>
            <a:r>
              <a:rPr lang="de-DE"/>
              <a:t>, </a:t>
            </a:r>
            <a:r>
              <a:rPr lang="de-DE" b="1"/>
              <a:t>Speicherort/-dauer</a:t>
            </a:r>
            <a:r>
              <a:rPr lang="de-DE"/>
              <a:t>, vertragliche Absicherung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Interne Abläufe: </a:t>
            </a:r>
            <a:r>
              <a:rPr lang="de-DE" b="1"/>
              <a:t>Transparente Kommunikation</a:t>
            </a:r>
            <a:r>
              <a:rPr lang="de-DE"/>
              <a:t> mit Eltern, </a:t>
            </a:r>
            <a:r>
              <a:rPr lang="de-DE" b="1"/>
              <a:t>Fortbildung</a:t>
            </a:r>
            <a:r>
              <a:rPr lang="de-DE"/>
              <a:t> des Kollegiums, </a:t>
            </a:r>
            <a:r>
              <a:rPr lang="de-DE" b="1"/>
              <a:t>Feedback-/Meldestelle</a:t>
            </a:r>
            <a:r>
              <a:rPr lang="de-DE"/>
              <a:t> bei Problem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(Publikumsfrage) „Welche Fragen oder Bedenken haben Sie persönlich zum KI-Einsatz an der Schule?“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Es handelt sich hier um </a:t>
            </a:r>
            <a:r>
              <a:rPr lang="de-DE" b="1"/>
              <a:t>Beispiele</a:t>
            </a:r>
            <a:r>
              <a:rPr lang="de-DE"/>
              <a:t>, keine Werbung/keine Vollständigkeit:</a:t>
            </a:r>
            <a:endParaRPr/>
          </a:p>
          <a:p>
            <a:pPr>
              <a:defRPr/>
            </a:pPr>
            <a:endParaRPr lang="de-DE" b="1"/>
          </a:p>
          <a:p>
            <a:pPr>
              <a:defRPr/>
            </a:pPr>
            <a:r>
              <a:rPr lang="de-DE" b="1"/>
              <a:t>Mathe – adaptive Lernsystem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Diagnose + </a:t>
            </a:r>
            <a:r>
              <a:rPr lang="de-DE" b="1"/>
              <a:t>auf Niveau angepasste Übungen</a:t>
            </a:r>
            <a:r>
              <a:rPr lang="de-DE"/>
              <a:t> mit Schritt-für-Schritt-Hinweis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Bettermarks, Calcularis, Area9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10–15 Min. Übungsphasen/Stationen; </a:t>
            </a:r>
            <a:r>
              <a:rPr lang="de-DE" b="1"/>
              <a:t>LK setzt Ziele</a:t>
            </a:r>
            <a:r>
              <a:rPr lang="de-DE"/>
              <a:t>, kontrolliert Lösungswege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Nutzen:</a:t>
            </a:r>
            <a:r>
              <a:rPr lang="de-DE"/>
              <a:t> Tempo-Differenzierung, sofortiges </a:t>
            </a:r>
            <a:r>
              <a:rPr lang="de-DE" b="1"/>
              <a:t>prozessbezogenes Feedback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Lesen – Unterstützung &amp; Zugäng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Leseflüssigkeit &amp; -verständnis </a:t>
            </a:r>
            <a:r>
              <a:rPr lang="de-DE" b="1"/>
              <a:t>entlasten/aufbauen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LaLeTu, Microsoft Immersive Reader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Funktionen:</a:t>
            </a:r>
            <a:r>
              <a:rPr lang="de-DE"/>
              <a:t> Vorlesen, Silbierung/Zeilenfokus, </a:t>
            </a:r>
            <a:r>
              <a:rPr lang="de-DE" b="1"/>
              <a:t>Textvereinfachung</a:t>
            </a:r>
            <a:r>
              <a:rPr lang="de-DE"/>
              <a:t>, Glossar, kurze Verständnisfrag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Stillarbeits-Station, Hausaufgabe mit Elterninfo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Schreibenlernen – Sensorik/Feedback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</a:t>
            </a:r>
            <a:r>
              <a:rPr lang="de-DE" b="1"/>
              <a:t>Schreibmotorik</a:t>
            </a:r>
            <a:r>
              <a:rPr lang="de-DE"/>
              <a:t> und Formtraining mit unmittelbarem Feedback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:</a:t>
            </a:r>
            <a:r>
              <a:rPr lang="de-DE"/>
              <a:t> Stabilo </a:t>
            </a:r>
            <a:r>
              <a:rPr lang="de-DE" b="1"/>
              <a:t>EduPen</a:t>
            </a:r>
            <a:r>
              <a:rPr lang="de-DE"/>
              <a:t> (Digitalstift + App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Funktionen:</a:t>
            </a:r>
            <a:r>
              <a:rPr lang="de-DE"/>
              <a:t> Griff/Stiftdruck/Bewegung erfassen → </a:t>
            </a:r>
            <a:r>
              <a:rPr lang="de-DE" b="1"/>
              <a:t>Übungsvorschläge</a:t>
            </a:r>
            <a:r>
              <a:rPr lang="de-DE"/>
              <a:t>; </a:t>
            </a:r>
            <a:r>
              <a:rPr lang="de-DE" b="1"/>
              <a:t>LK sieht Auswertung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Hinweis:</a:t>
            </a:r>
            <a:r>
              <a:rPr lang="de-DE"/>
              <a:t> Erstdiagnose als </a:t>
            </a:r>
            <a:r>
              <a:rPr lang="de-DE" b="1"/>
              <a:t>Grundlage für Übungsplan</a:t>
            </a:r>
            <a:r>
              <a:rPr lang="de-DE"/>
              <a:t>, nicht als Note.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0556990-3CA1-E35A-54C8-4A51BB5A10A9}" type="slidenum">
              <a:rPr/>
              <a:t>5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1"/>
              <a:t>Beispiele, keine Empfehlungsliste</a:t>
            </a:r>
            <a:r>
              <a:rPr lang="de-DE"/>
              <a:t>; Auswahl richtet sich nach </a:t>
            </a:r>
            <a:r>
              <a:rPr lang="de-DE" b="1"/>
              <a:t>Schulvorgaben &amp; Datenschutz</a:t>
            </a:r>
            <a:r>
              <a:rPr lang="de-DE"/>
              <a:t>.</a:t>
            </a:r>
            <a:endParaRPr/>
          </a:p>
          <a:p>
            <a:pPr>
              <a:defRPr/>
            </a:pPr>
            <a:r>
              <a:rPr lang="de-DE" b="1"/>
              <a:t>Lehrkraft steuert</a:t>
            </a:r>
            <a:r>
              <a:rPr lang="de-DE"/>
              <a:t>, passt an und </a:t>
            </a:r>
            <a:r>
              <a:rPr lang="de-DE" b="1"/>
              <a:t>prüft Ergebnisse</a:t>
            </a:r>
            <a:r>
              <a:rPr lang="de-DE"/>
              <a:t>.</a:t>
            </a:r>
            <a:endParaRPr/>
          </a:p>
          <a:p>
            <a:pPr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Mathematik – adaptive Lernsystem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Diagnose + </a:t>
            </a:r>
            <a:r>
              <a:rPr lang="de-DE" b="1"/>
              <a:t>auf Niveau angepasste Übungen</a:t>
            </a:r>
            <a:r>
              <a:rPr lang="de-DE"/>
              <a:t> mit Schritt-für-Schritt-Hinweis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bettermarks, Calcularis, Area9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10–15 Min. Übungsphasen/Stationen; Lernpfade je nach </a:t>
            </a:r>
            <a:r>
              <a:rPr lang="de-DE" b="1"/>
              <a:t>Fehlermuster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K-Rolle:</a:t>
            </a:r>
            <a:r>
              <a:rPr lang="de-DE"/>
              <a:t> Ziele setzen, Aufgaben freigeben, </a:t>
            </a:r>
            <a:r>
              <a:rPr lang="de-DE" b="1"/>
              <a:t>Lösungswege kontrollieren</a:t>
            </a:r>
            <a:r>
              <a:rPr lang="de-DE"/>
              <a:t>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remdsprachen – interaktive Anwend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Wortschatz, Hör-/Leseverstehen, Sprechen trainier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Duolingo (Drills/Spiel-Elemente), DeepL (verständliche Übersetzungen/Alternativen), LanguageTool (Stil-/Grammatik-Hinweise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Warm-up, Hausaufgabe, Differenzierung im Stationenlern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Hinweis:</a:t>
            </a:r>
            <a:r>
              <a:rPr lang="de-DE"/>
              <a:t> </a:t>
            </a:r>
            <a:r>
              <a:rPr lang="de-DE" b="1"/>
              <a:t>Eigenleistung sichern</a:t>
            </a:r>
            <a:r>
              <a:rPr lang="de-DE"/>
              <a:t> (z. B. mündliche Checks, kurze Transfers)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Rechtschreibung &amp; Grammatik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</a:t>
            </a:r>
            <a:r>
              <a:rPr lang="de-DE" b="1"/>
              <a:t>gezielte Fehler-Rückmeldung</a:t>
            </a:r>
            <a:r>
              <a:rPr lang="de-DE"/>
              <a:t> und Überarbeitungsschleif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Orthografietrainer, LanguageTool, DeepL (Formulierungsvarianten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Überarbeitung von Entwürfen mit </a:t>
            </a:r>
            <a:r>
              <a:rPr lang="de-DE" b="1"/>
              <a:t>klaren Kriterien</a:t>
            </a:r>
            <a:r>
              <a:rPr lang="de-DE"/>
              <a:t>; Reflexion: „Was habe ich verbessert?“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endParaRPr lang="de-DE"/>
          </a:p>
          <a:p>
            <a:pPr>
              <a:defRPr/>
            </a:pPr>
            <a:r>
              <a:rPr lang="de-DE" b="1"/>
              <a:t>Wenn an Ihrer Schule bereits im Einsatz:</a:t>
            </a:r>
            <a:endParaRPr/>
          </a:p>
          <a:p>
            <a:pPr>
              <a:defRPr/>
            </a:pPr>
            <a:r>
              <a:rPr lang="de-DE"/>
              <a:t>Kurzschema zur Vorstellung: </a:t>
            </a:r>
            <a:r>
              <a:rPr lang="de-DE" b="1"/>
              <a:t>Tool – Zweck – Jahrgang – Datenschutzrahmen – Rolle der LK</a:t>
            </a:r>
            <a:r>
              <a:rPr lang="de-DE"/>
              <a:t> (1–2 Min.).</a:t>
            </a:r>
            <a:endParaRPr/>
          </a:p>
          <a:p>
            <a:pPr>
              <a:defRPr/>
            </a:pPr>
            <a:endParaRPr lang="de-DE" u="s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0556990-3CA1-E35A-54C8-4A51BB5A10A9}" type="slidenum">
              <a:rPr/>
              <a:t>6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KI eignet sich </a:t>
            </a:r>
            <a:r>
              <a:rPr lang="de-DE" b="1" dirty="0"/>
              <a:t>sehr gut</a:t>
            </a:r>
            <a:r>
              <a:rPr lang="de-DE" dirty="0"/>
              <a:t> zur Erstellung </a:t>
            </a:r>
            <a:r>
              <a:rPr lang="de-DE" b="1" dirty="0"/>
              <a:t>multimedialer Inhalte</a:t>
            </a:r>
            <a:r>
              <a:rPr lang="de-DE" dirty="0"/>
              <a:t> (Audio/Podcast/Hörspiel).</a:t>
            </a:r>
            <a:endParaRPr dirty="0"/>
          </a:p>
          <a:p>
            <a:pPr>
              <a:defRPr/>
            </a:pPr>
            <a:r>
              <a:rPr lang="de-DE" b="1" dirty="0"/>
              <a:t>Eltern</a:t>
            </a:r>
            <a:r>
              <a:rPr lang="de-DE" dirty="0"/>
              <a:t> </a:t>
            </a:r>
            <a:r>
              <a:rPr lang="de-DE"/>
              <a:t>können in den </a:t>
            </a:r>
            <a:r>
              <a:rPr lang="de-DE" dirty="0"/>
              <a:t>Podcast per </a:t>
            </a:r>
            <a:r>
              <a:rPr lang="de-DE" b="1" dirty="0"/>
              <a:t>QR-Code</a:t>
            </a:r>
            <a:r>
              <a:rPr lang="de-DE" dirty="0"/>
              <a:t> oder Link </a:t>
            </a:r>
            <a:r>
              <a:rPr lang="de-DE" b="1" dirty="0"/>
              <a:t>reinhören</a:t>
            </a:r>
            <a:r>
              <a:rPr lang="de-DE" dirty="0"/>
              <a:t>.</a:t>
            </a:r>
            <a:endParaRPr dirty="0"/>
          </a:p>
          <a:p>
            <a:pPr>
              <a:defRPr/>
            </a:pPr>
            <a:r>
              <a:rPr lang="de-DE" b="1" dirty="0"/>
              <a:t>Eigene Schulbeispiele</a:t>
            </a:r>
            <a:r>
              <a:rPr lang="de-DE" dirty="0"/>
              <a:t> wirken am stärksten – gern </a:t>
            </a:r>
            <a:r>
              <a:rPr lang="de-DE" b="1" dirty="0"/>
              <a:t>kurz live zeigen</a:t>
            </a:r>
            <a:endParaRPr dirty="0"/>
          </a:p>
          <a:p>
            <a:pPr marL="0" indent="0">
              <a:buFont typeface="Arial"/>
              <a:buNone/>
              <a:defRPr/>
            </a:pPr>
            <a:r>
              <a:rPr lang="de-DE" dirty="0"/>
              <a:t>KI = </a:t>
            </a:r>
            <a:r>
              <a:rPr lang="de-DE" b="1" dirty="0"/>
              <a:t>Impulsgeber/Assistent</a:t>
            </a:r>
            <a:r>
              <a:rPr lang="de-DE" dirty="0"/>
              <a:t>, die </a:t>
            </a:r>
            <a:r>
              <a:rPr lang="de-DE" b="1" dirty="0"/>
              <a:t>Gestaltung bleibt bei den </a:t>
            </a:r>
            <a:r>
              <a:rPr lang="de-DE" b="1" dirty="0" err="1"/>
              <a:t>SuS</a:t>
            </a:r>
            <a:r>
              <a:rPr lang="de-DE" dirty="0"/>
              <a:t>.</a:t>
            </a:r>
            <a:endParaRPr dirty="0"/>
          </a:p>
          <a:p>
            <a:pPr marL="0" indent="0">
              <a:buFont typeface="Arial"/>
              <a:buNone/>
              <a:defRPr/>
            </a:pPr>
            <a:endParaRPr lang="de-DE" b="1" dirty="0"/>
          </a:p>
          <a:p>
            <a:pPr marL="0" indent="0">
              <a:buFont typeface="Arial"/>
              <a:buNone/>
              <a:defRPr/>
            </a:pPr>
            <a:r>
              <a:rPr lang="de-DE" b="1" dirty="0"/>
              <a:t>Beispiel „Podcast – Grundrechte“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Ziel: </a:t>
            </a:r>
            <a:r>
              <a:rPr lang="de-DE" b="1" dirty="0"/>
              <a:t>Wissen vertiefen</a:t>
            </a:r>
            <a:r>
              <a:rPr lang="de-DE" dirty="0"/>
              <a:t> und in </a:t>
            </a:r>
            <a:r>
              <a:rPr lang="de-DE" b="1" dirty="0"/>
              <a:t>Podcast-Form</a:t>
            </a:r>
            <a:r>
              <a:rPr lang="de-DE" dirty="0"/>
              <a:t> für eine Zielgruppe </a:t>
            </a:r>
            <a:r>
              <a:rPr lang="de-DE" b="1" dirty="0"/>
              <a:t>verständlich</a:t>
            </a:r>
            <a:r>
              <a:rPr lang="de-DE" dirty="0"/>
              <a:t> aufbereiten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Kompetenzen: </a:t>
            </a:r>
            <a:r>
              <a:rPr lang="de-DE" b="1" dirty="0"/>
              <a:t>Medienkompetenz</a:t>
            </a:r>
            <a:r>
              <a:rPr lang="de-DE" dirty="0"/>
              <a:t> (KI-Tools bedienen, Formatunterschiede </a:t>
            </a:r>
            <a:r>
              <a:rPr lang="de-DE" b="1" dirty="0"/>
              <a:t>Sachtext ↔ Podcast</a:t>
            </a:r>
            <a:r>
              <a:rPr lang="de-DE" dirty="0"/>
              <a:t>, Regeln für gute Podcasts), </a:t>
            </a:r>
            <a:r>
              <a:rPr lang="de-DE" b="1" dirty="0"/>
              <a:t>reflektiertes</a:t>
            </a:r>
            <a:r>
              <a:rPr lang="de-DE" dirty="0"/>
              <a:t> Arbeiten mit digitalen Werkzeugen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Fächerverbindung: </a:t>
            </a:r>
            <a:r>
              <a:rPr lang="de-DE" b="1" dirty="0"/>
              <a:t>Politik – Deutsch – Medienbildung</a:t>
            </a:r>
            <a:r>
              <a:rPr lang="de-DE" dirty="0"/>
              <a:t>; </a:t>
            </a:r>
            <a:r>
              <a:rPr lang="de-DE" b="1" dirty="0"/>
              <a:t>Lebensweltbezug</a:t>
            </a:r>
            <a:r>
              <a:rPr lang="de-DE" dirty="0"/>
              <a:t>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Möglich mit </a:t>
            </a:r>
            <a:r>
              <a:rPr lang="de-DE" b="1" dirty="0" err="1"/>
              <a:t>ByLKI</a:t>
            </a:r>
            <a:r>
              <a:rPr lang="de-DE" dirty="0"/>
              <a:t> / </a:t>
            </a:r>
            <a:r>
              <a:rPr lang="de-DE" b="1" dirty="0" err="1"/>
              <a:t>ByCS</a:t>
            </a:r>
            <a:r>
              <a:rPr lang="de-DE" b="1" dirty="0"/>
              <a:t>-KI.</a:t>
            </a:r>
            <a:endParaRPr dirty="0"/>
          </a:p>
          <a:p>
            <a:pPr marL="0" indent="0">
              <a:buFont typeface="Arial"/>
              <a:buNone/>
              <a:defRPr/>
            </a:pPr>
            <a:endParaRPr lang="de-DE" b="1" dirty="0"/>
          </a:p>
          <a:p>
            <a:pPr marL="0" indent="0">
              <a:buFont typeface="Arial"/>
              <a:buNone/>
              <a:defRPr/>
            </a:pPr>
            <a:r>
              <a:rPr lang="de-DE" b="1" dirty="0"/>
              <a:t>Beispiel „Hörspiel – Deutsch“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Mit KI </a:t>
            </a:r>
            <a:r>
              <a:rPr lang="de-DE" b="1" dirty="0"/>
              <a:t>Ideen/Handlungsgerüst/Dialogstrukturen/Sound-Hinweise</a:t>
            </a:r>
            <a:r>
              <a:rPr lang="de-DE" dirty="0"/>
              <a:t> generieren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 err="1"/>
              <a:t>SuS</a:t>
            </a:r>
            <a:r>
              <a:rPr lang="de-DE" dirty="0"/>
              <a:t> </a:t>
            </a:r>
            <a:r>
              <a:rPr lang="de-DE" b="1" dirty="0"/>
              <a:t>verfeinern &amp; passen Sprache an</a:t>
            </a:r>
            <a:r>
              <a:rPr lang="de-DE" dirty="0"/>
              <a:t>, erstellen </a:t>
            </a:r>
            <a:r>
              <a:rPr lang="de-DE" b="1" dirty="0"/>
              <a:t>Skript mit Regieanweisungen</a:t>
            </a:r>
            <a:r>
              <a:rPr lang="de-DE" dirty="0"/>
              <a:t>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Produktion: </a:t>
            </a:r>
            <a:r>
              <a:rPr lang="de-DE" b="1" dirty="0"/>
              <a:t>Einsprechen</a:t>
            </a:r>
            <a:r>
              <a:rPr lang="de-DE" dirty="0"/>
              <a:t>, </a:t>
            </a:r>
            <a:r>
              <a:rPr lang="de-DE" b="1" dirty="0"/>
              <a:t>Geräusche/Musik</a:t>
            </a:r>
            <a:r>
              <a:rPr lang="de-DE" dirty="0"/>
              <a:t> aufnehmen, </a:t>
            </a:r>
            <a:r>
              <a:rPr lang="de-DE" b="1" dirty="0"/>
              <a:t>selbst abmischen</a:t>
            </a:r>
            <a:r>
              <a:rPr lang="de-DE" dirty="0"/>
              <a:t> (arbeitsteilig)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Ergebnis: </a:t>
            </a:r>
            <a:r>
              <a:rPr lang="de-DE" b="1" dirty="0"/>
              <a:t>kreatives, authentisches Lernprodukt</a:t>
            </a:r>
            <a:r>
              <a:rPr lang="de-DE" dirty="0"/>
              <a:t>.</a:t>
            </a:r>
            <a:endParaRPr dirty="0"/>
          </a:p>
          <a:p>
            <a:pPr marL="0" indent="0">
              <a:buFont typeface="Arial"/>
              <a:buNone/>
              <a:defRPr/>
            </a:pPr>
            <a:endParaRPr lang="de-DE" b="1" dirty="0"/>
          </a:p>
          <a:p>
            <a:pPr>
              <a:defRPr/>
            </a:pPr>
            <a:r>
              <a:rPr lang="de-DE" b="1" dirty="0"/>
              <a:t>KI = Impulsgeber</a:t>
            </a:r>
            <a:r>
              <a:rPr lang="de-DE" dirty="0"/>
              <a:t>, Gestaltung bleibt bei den </a:t>
            </a:r>
            <a:r>
              <a:rPr lang="de-DE" b="1" dirty="0" err="1"/>
              <a:t>SuS</a:t>
            </a:r>
            <a:r>
              <a:rPr lang="de-DE" dirty="0"/>
              <a:t>.</a:t>
            </a:r>
            <a:endParaRPr dirty="0"/>
          </a:p>
          <a:p>
            <a:pPr>
              <a:defRPr/>
            </a:pPr>
            <a:r>
              <a:rPr lang="de-DE" dirty="0"/>
              <a:t>Ergebnis: </a:t>
            </a:r>
            <a:r>
              <a:rPr lang="de-DE" b="1" dirty="0"/>
              <a:t>motivierende, authentische Lernprodukte</a:t>
            </a:r>
            <a:r>
              <a:rPr lang="de-DE" dirty="0"/>
              <a:t>.</a:t>
            </a:r>
            <a:endParaRPr dirty="0"/>
          </a:p>
          <a:p>
            <a:pPr>
              <a:defRPr/>
            </a:pPr>
            <a:r>
              <a:rPr lang="de-DE" dirty="0"/>
              <a:t>(Optional) Kurz die </a:t>
            </a:r>
            <a:r>
              <a:rPr lang="de-DE" b="1" dirty="0"/>
              <a:t>Erstellung live</a:t>
            </a:r>
            <a:r>
              <a:rPr lang="de-DE" dirty="0"/>
              <a:t> demonstrieren – Prompt → kurzer Clip.</a:t>
            </a:r>
            <a:endParaRPr dirty="0"/>
          </a:p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0556990-3CA1-E35A-54C8-4A51BB5A10A9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1"/>
              <a:t>QR-Codes scannen oder anklicken</a:t>
            </a:r>
            <a:r>
              <a:rPr lang="de-DE"/>
              <a:t> → Eltern hören/lesen direkt hinein.</a:t>
            </a:r>
            <a:endParaRPr/>
          </a:p>
          <a:p>
            <a:pPr>
              <a:defRPr/>
            </a:pPr>
            <a:r>
              <a:rPr lang="de-DE"/>
              <a:t>Auswahl = </a:t>
            </a:r>
            <a:r>
              <a:rPr lang="de-DE" b="1"/>
              <a:t>seriöse Einstiegsquellen</a:t>
            </a:r>
            <a:r>
              <a:rPr lang="de-DE"/>
              <a:t>; keine Werbung.</a:t>
            </a:r>
            <a:endParaRPr/>
          </a:p>
          <a:p>
            <a:pPr>
              <a:defRPr/>
            </a:pPr>
            <a:endParaRPr lang="de-DE" b="1"/>
          </a:p>
          <a:p>
            <a:pPr>
              <a:defRPr/>
            </a:pPr>
            <a:r>
              <a:rPr lang="de-DE" b="1"/>
              <a:t>Inhalt der Links (1 Satz je Kreis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licksafe:</a:t>
            </a:r>
            <a:r>
              <a:rPr lang="de-DE"/>
              <a:t> Tipps &amp; Materialien zu </a:t>
            </a:r>
            <a:r>
              <a:rPr lang="de-DE" b="1"/>
              <a:t>Medien-/KI-Kompetenz</a:t>
            </a:r>
            <a:r>
              <a:rPr lang="de-DE"/>
              <a:t> für Eltern &amp; Schule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FragZebra:</a:t>
            </a:r>
            <a:r>
              <a:rPr lang="de-DE"/>
              <a:t> </a:t>
            </a:r>
            <a:r>
              <a:rPr lang="de-DE" b="1"/>
              <a:t>Niedrigschwellige Erklärungen</a:t>
            </a:r>
            <a:r>
              <a:rPr lang="de-DE"/>
              <a:t> und Praxisfragen rund um Digitalthem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ultusministerium:</a:t>
            </a:r>
            <a:r>
              <a:rPr lang="de-DE"/>
              <a:t> </a:t>
            </a:r>
            <a:r>
              <a:rPr lang="de-DE" b="1"/>
              <a:t>Regelungen, Leitfäden, Hinweise</a:t>
            </a:r>
            <a:r>
              <a:rPr lang="de-DE"/>
              <a:t> zum KI-Einsatz an Schul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Der KI-Podcast:</a:t>
            </a:r>
            <a:r>
              <a:rPr lang="de-DE"/>
              <a:t> </a:t>
            </a:r>
            <a:r>
              <a:rPr lang="de-DE" b="1"/>
              <a:t>Verständliche Einordnung</a:t>
            </a:r>
            <a:r>
              <a:rPr lang="de-DE"/>
              <a:t> aktueller KI-Themen für den Alltag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Moderationshinweis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1–2 Links kurz live öffnen</a:t>
            </a:r>
            <a:r>
              <a:rPr lang="de-DE"/>
              <a:t> (30–45 Sek. je Link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ltern ermutigen: </a:t>
            </a:r>
            <a:r>
              <a:rPr lang="de-DE" b="1"/>
              <a:t>zu Hause nachschauen</a:t>
            </a:r>
            <a:r>
              <a:rPr lang="de-DE"/>
              <a:t> und bei Fragen </a:t>
            </a:r>
            <a:r>
              <a:rPr lang="de-DE" b="1"/>
              <a:t>Kontakt</a:t>
            </a:r>
            <a:r>
              <a:rPr lang="de-DE"/>
              <a:t> aufnehmen.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4AC3F3-92E0-B354-E8F4-AAE046D193BA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220276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eine Spalt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11081494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84782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354790" y="1606811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2" name="Textplatzhalter 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149936" y="1606811"/>
            <a:ext cx="3482420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+ Dia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6276000" y="1671122"/>
            <a:ext cx="5365138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556180" y="1665288"/>
            <a:ext cx="5359820" cy="4643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/>
              <a:t>Diagramm hier einfügen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ver 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50861" y="5124852"/>
            <a:ext cx="5545135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, consetetur </a:t>
            </a:r>
            <a:br>
              <a:rPr lang="de-DE"/>
            </a:br>
            <a:r>
              <a:rPr lang="de-DE"/>
              <a:t>sadipscing elitr, sed nonumy dolor </a:t>
            </a:r>
            <a:br>
              <a:rPr lang="de-DE"/>
            </a:br>
            <a:r>
              <a:rPr lang="de-DE"/>
              <a:t>eirmod tempor invidunt ut labore. 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0862" y="902151"/>
            <a:ext cx="6732885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4800" b="1" i="0" cap="all" spc="100">
                <a:solidFill>
                  <a:srgbClr val="FFFCDC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 des Themenbereichs</a:t>
            </a:r>
            <a:endParaRPr/>
          </a:p>
        </p:txBody>
      </p:sp>
      <p:sp>
        <p:nvSpPr>
          <p:cNvPr id="2" name="Textfeld 1"/>
          <p:cNvSpPr txBox="1"/>
          <p:nvPr userDrawn="1"/>
        </p:nvSpPr>
        <p:spPr bwMode="auto">
          <a:xfrm>
            <a:off x="7793182" y="11222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0861" y="4259555"/>
            <a:ext cx="6732885" cy="437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ERGÄNZUNG ODER UNTERÜBERSCHRIFT</a:t>
            </a: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Bild + IP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80" name="Grafik 479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/>
        </p:blipFill>
        <p:spPr bwMode="auto">
          <a:xfrm flipH="1">
            <a:off x="544964" y="1665287"/>
            <a:ext cx="9541308" cy="4643437"/>
          </a:xfrm>
          <a:prstGeom prst="rect">
            <a:avLst/>
          </a:prstGeom>
        </p:spPr>
      </p:pic>
      <p:pic>
        <p:nvPicPr>
          <p:cNvPr id="21" name="Picture 22" descr="Shape, square&#10;&#10;Description automatically generated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 rot="16199998">
            <a:off x="1578359" y="610519"/>
            <a:ext cx="4675968" cy="6742760"/>
          </a:xfrm>
          <a:prstGeom prst="rect">
            <a:avLst/>
          </a:prstGeom>
        </p:spPr>
      </p:pic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726562" y="1863144"/>
            <a:ext cx="6368400" cy="4276800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3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4" name="Textplatzhalter 19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1" name="Textplatzhalter 10"/>
          <p:cNvSpPr>
            <a:spLocks noGrp="1" noRot="1" noMove="1" noResize="1" noEditPoints="1" noAdjustHandles="1" noChangeArrowheads="1" noChangeShapeType="1"/>
          </p:cNvSpPr>
          <p:nvPr userDrawn="1"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12" name="Textplatzhalter 11"/>
          <p:cNvSpPr>
            <a:spLocks noGrp="1" noRot="1" noChangeAspect="1" noMove="1" noResize="1" noEditPoints="1" noAdjustHandles="1" noChangeArrowheads="1" noChangeShapeType="1"/>
          </p:cNvSpPr>
          <p:nvPr userDrawn="1"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3" name="Textplatzhalter 10"/>
          <p:cNvSpPr>
            <a:spLocks noGrp="1"/>
          </p:cNvSpPr>
          <p:nvPr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546629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1" name="Freihandform: Form 20"/>
          <p:cNvSpPr/>
          <p:nvPr/>
        </p:nvSpPr>
        <p:spPr bwMode="auto">
          <a:xfrm>
            <a:off x="6127731" y="5994990"/>
            <a:ext cx="585985" cy="863010"/>
          </a:xfrm>
          <a:custGeom>
            <a:avLst/>
            <a:gdLst>
              <a:gd name="connsiteX0" fmla="*/ 0 w 585985"/>
              <a:gd name="connsiteY0" fmla="*/ 0 h 863010"/>
              <a:gd name="connsiteX1" fmla="*/ 430018 w 585985"/>
              <a:gd name="connsiteY1" fmla="*/ 0 h 863010"/>
              <a:gd name="connsiteX2" fmla="*/ 436292 w 585985"/>
              <a:gd name="connsiteY2" fmla="*/ 0 h 863010"/>
              <a:gd name="connsiteX3" fmla="*/ 445615 w 585985"/>
              <a:gd name="connsiteY3" fmla="*/ 0 h 863010"/>
              <a:gd name="connsiteX4" fmla="*/ 451889 w 585985"/>
              <a:gd name="connsiteY4" fmla="*/ 0 h 863010"/>
              <a:gd name="connsiteX5" fmla="*/ 461211 w 585985"/>
              <a:gd name="connsiteY5" fmla="*/ 3168 h 863010"/>
              <a:gd name="connsiteX6" fmla="*/ 467486 w 585985"/>
              <a:gd name="connsiteY6" fmla="*/ 3168 h 863010"/>
              <a:gd name="connsiteX7" fmla="*/ 476808 w 585985"/>
              <a:gd name="connsiteY7" fmla="*/ 6275 h 863010"/>
              <a:gd name="connsiteX8" fmla="*/ 483083 w 585985"/>
              <a:gd name="connsiteY8" fmla="*/ 9382 h 863010"/>
              <a:gd name="connsiteX9" fmla="*/ 489297 w 585985"/>
              <a:gd name="connsiteY9" fmla="*/ 9382 h 863010"/>
              <a:gd name="connsiteX10" fmla="*/ 498679 w 585985"/>
              <a:gd name="connsiteY10" fmla="*/ 12490 h 863010"/>
              <a:gd name="connsiteX11" fmla="*/ 504894 w 585985"/>
              <a:gd name="connsiteY11" fmla="*/ 15597 h 863010"/>
              <a:gd name="connsiteX12" fmla="*/ 511109 w 585985"/>
              <a:gd name="connsiteY12" fmla="*/ 21871 h 863010"/>
              <a:gd name="connsiteX13" fmla="*/ 517384 w 585985"/>
              <a:gd name="connsiteY13" fmla="*/ 24979 h 863010"/>
              <a:gd name="connsiteX14" fmla="*/ 523598 w 585985"/>
              <a:gd name="connsiteY14" fmla="*/ 28087 h 863010"/>
              <a:gd name="connsiteX15" fmla="*/ 529873 w 585985"/>
              <a:gd name="connsiteY15" fmla="*/ 31194 h 863010"/>
              <a:gd name="connsiteX16" fmla="*/ 536087 w 585985"/>
              <a:gd name="connsiteY16" fmla="*/ 37468 h 863010"/>
              <a:gd name="connsiteX17" fmla="*/ 539195 w 585985"/>
              <a:gd name="connsiteY17" fmla="*/ 40576 h 863010"/>
              <a:gd name="connsiteX18" fmla="*/ 545469 w 585985"/>
              <a:gd name="connsiteY18" fmla="*/ 46790 h 863010"/>
              <a:gd name="connsiteX19" fmla="*/ 551684 w 585985"/>
              <a:gd name="connsiteY19" fmla="*/ 53065 h 863010"/>
              <a:gd name="connsiteX20" fmla="*/ 554792 w 585985"/>
              <a:gd name="connsiteY20" fmla="*/ 56173 h 863010"/>
              <a:gd name="connsiteX21" fmla="*/ 561066 w 585985"/>
              <a:gd name="connsiteY21" fmla="*/ 62387 h 863010"/>
              <a:gd name="connsiteX22" fmla="*/ 564174 w 585985"/>
              <a:gd name="connsiteY22" fmla="*/ 68662 h 863010"/>
              <a:gd name="connsiteX23" fmla="*/ 567281 w 585985"/>
              <a:gd name="connsiteY23" fmla="*/ 74877 h 863010"/>
              <a:gd name="connsiteX24" fmla="*/ 570388 w 585985"/>
              <a:gd name="connsiteY24" fmla="*/ 81092 h 863010"/>
              <a:gd name="connsiteX25" fmla="*/ 573556 w 585985"/>
              <a:gd name="connsiteY25" fmla="*/ 87366 h 863010"/>
              <a:gd name="connsiteX26" fmla="*/ 576663 w 585985"/>
              <a:gd name="connsiteY26" fmla="*/ 93582 h 863010"/>
              <a:gd name="connsiteX27" fmla="*/ 579771 w 585985"/>
              <a:gd name="connsiteY27" fmla="*/ 99796 h 863010"/>
              <a:gd name="connsiteX28" fmla="*/ 582877 w 585985"/>
              <a:gd name="connsiteY28" fmla="*/ 109178 h 863010"/>
              <a:gd name="connsiteX29" fmla="*/ 582877 w 585985"/>
              <a:gd name="connsiteY29" fmla="*/ 115393 h 863010"/>
              <a:gd name="connsiteX30" fmla="*/ 585985 w 585985"/>
              <a:gd name="connsiteY30" fmla="*/ 121667 h 863010"/>
              <a:gd name="connsiteX31" fmla="*/ 585985 w 585985"/>
              <a:gd name="connsiteY31" fmla="*/ 127882 h 863010"/>
              <a:gd name="connsiteX32" fmla="*/ 585985 w 585985"/>
              <a:gd name="connsiteY32" fmla="*/ 137264 h 863010"/>
              <a:gd name="connsiteX33" fmla="*/ 585985 w 585985"/>
              <a:gd name="connsiteY33" fmla="*/ 143479 h 863010"/>
              <a:gd name="connsiteX34" fmla="*/ 585985 w 585985"/>
              <a:gd name="connsiteY34" fmla="*/ 863010 h 863010"/>
              <a:gd name="connsiteX35" fmla="*/ 4157 w 585985"/>
              <a:gd name="connsiteY35" fmla="*/ 863010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85985" h="863010" extrusionOk="0">
                <a:moveTo>
                  <a:pt x="0" y="0"/>
                </a:moveTo>
                <a:lnTo>
                  <a:pt x="430018" y="0"/>
                </a:lnTo>
                <a:lnTo>
                  <a:pt x="436292" y="0"/>
                </a:lnTo>
                <a:lnTo>
                  <a:pt x="445615" y="0"/>
                </a:lnTo>
                <a:lnTo>
                  <a:pt x="451889" y="0"/>
                </a:lnTo>
                <a:lnTo>
                  <a:pt x="461211" y="3168"/>
                </a:lnTo>
                <a:lnTo>
                  <a:pt x="467486" y="3168"/>
                </a:lnTo>
                <a:lnTo>
                  <a:pt x="476808" y="6275"/>
                </a:lnTo>
                <a:lnTo>
                  <a:pt x="483083" y="9382"/>
                </a:lnTo>
                <a:lnTo>
                  <a:pt x="489297" y="9382"/>
                </a:lnTo>
                <a:lnTo>
                  <a:pt x="498679" y="12490"/>
                </a:lnTo>
                <a:lnTo>
                  <a:pt x="504894" y="15597"/>
                </a:lnTo>
                <a:lnTo>
                  <a:pt x="511109" y="21871"/>
                </a:lnTo>
                <a:lnTo>
                  <a:pt x="517384" y="24979"/>
                </a:lnTo>
                <a:lnTo>
                  <a:pt x="523598" y="28087"/>
                </a:lnTo>
                <a:lnTo>
                  <a:pt x="529873" y="31194"/>
                </a:lnTo>
                <a:lnTo>
                  <a:pt x="536087" y="37468"/>
                </a:lnTo>
                <a:lnTo>
                  <a:pt x="539195" y="40576"/>
                </a:lnTo>
                <a:lnTo>
                  <a:pt x="545469" y="46790"/>
                </a:lnTo>
                <a:lnTo>
                  <a:pt x="551684" y="53065"/>
                </a:lnTo>
                <a:lnTo>
                  <a:pt x="554792" y="56173"/>
                </a:lnTo>
                <a:lnTo>
                  <a:pt x="561066" y="62387"/>
                </a:lnTo>
                <a:lnTo>
                  <a:pt x="564174" y="68662"/>
                </a:lnTo>
                <a:lnTo>
                  <a:pt x="567281" y="74877"/>
                </a:lnTo>
                <a:lnTo>
                  <a:pt x="570388" y="81092"/>
                </a:lnTo>
                <a:lnTo>
                  <a:pt x="573556" y="87366"/>
                </a:lnTo>
                <a:lnTo>
                  <a:pt x="576663" y="93582"/>
                </a:lnTo>
                <a:lnTo>
                  <a:pt x="579771" y="99796"/>
                </a:lnTo>
                <a:lnTo>
                  <a:pt x="582877" y="109178"/>
                </a:lnTo>
                <a:lnTo>
                  <a:pt x="582877" y="115393"/>
                </a:lnTo>
                <a:lnTo>
                  <a:pt x="585985" y="121667"/>
                </a:lnTo>
                <a:lnTo>
                  <a:pt x="585985" y="127882"/>
                </a:lnTo>
                <a:lnTo>
                  <a:pt x="585985" y="137264"/>
                </a:lnTo>
                <a:lnTo>
                  <a:pt x="585985" y="143479"/>
                </a:lnTo>
                <a:lnTo>
                  <a:pt x="585985" y="863010"/>
                </a:lnTo>
                <a:lnTo>
                  <a:pt x="4157" y="8630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29" name="Freihandform: Form 28"/>
          <p:cNvSpPr/>
          <p:nvPr/>
        </p:nvSpPr>
        <p:spPr bwMode="auto">
          <a:xfrm>
            <a:off x="5478283" y="5994990"/>
            <a:ext cx="654766" cy="863010"/>
          </a:xfrm>
          <a:custGeom>
            <a:avLst/>
            <a:gdLst>
              <a:gd name="connsiteX0" fmla="*/ 134156 w 654766"/>
              <a:gd name="connsiteY0" fmla="*/ 0 h 863010"/>
              <a:gd name="connsiteX1" fmla="*/ 140431 w 654766"/>
              <a:gd name="connsiteY1" fmla="*/ 0 h 863010"/>
              <a:gd name="connsiteX2" fmla="*/ 149753 w 654766"/>
              <a:gd name="connsiteY2" fmla="*/ 0 h 863010"/>
              <a:gd name="connsiteX3" fmla="*/ 156029 w 654766"/>
              <a:gd name="connsiteY3" fmla="*/ 0 h 863010"/>
              <a:gd name="connsiteX4" fmla="*/ 649449 w 654766"/>
              <a:gd name="connsiteY4" fmla="*/ 0 h 863010"/>
              <a:gd name="connsiteX5" fmla="*/ 654766 w 654766"/>
              <a:gd name="connsiteY5" fmla="*/ 863010 h 863010"/>
              <a:gd name="connsiteX6" fmla="*/ 0 w 654766"/>
              <a:gd name="connsiteY6" fmla="*/ 863010 h 863010"/>
              <a:gd name="connsiteX7" fmla="*/ 0 w 654766"/>
              <a:gd name="connsiteY7" fmla="*/ 143479 h 863010"/>
              <a:gd name="connsiteX8" fmla="*/ 0 w 654766"/>
              <a:gd name="connsiteY8" fmla="*/ 137264 h 863010"/>
              <a:gd name="connsiteX9" fmla="*/ 0 w 654766"/>
              <a:gd name="connsiteY9" fmla="*/ 127882 h 863010"/>
              <a:gd name="connsiteX10" fmla="*/ 0 w 654766"/>
              <a:gd name="connsiteY10" fmla="*/ 121667 h 863010"/>
              <a:gd name="connsiteX11" fmla="*/ 3168 w 654766"/>
              <a:gd name="connsiteY11" fmla="*/ 115393 h 863010"/>
              <a:gd name="connsiteX12" fmla="*/ 3168 w 654766"/>
              <a:gd name="connsiteY12" fmla="*/ 109178 h 863010"/>
              <a:gd name="connsiteX13" fmla="*/ 6275 w 654766"/>
              <a:gd name="connsiteY13" fmla="*/ 99796 h 863010"/>
              <a:gd name="connsiteX14" fmla="*/ 9382 w 654766"/>
              <a:gd name="connsiteY14" fmla="*/ 93582 h 863010"/>
              <a:gd name="connsiteX15" fmla="*/ 12489 w 654766"/>
              <a:gd name="connsiteY15" fmla="*/ 87366 h 863010"/>
              <a:gd name="connsiteX16" fmla="*/ 15597 w 654766"/>
              <a:gd name="connsiteY16" fmla="*/ 81092 h 863010"/>
              <a:gd name="connsiteX17" fmla="*/ 18765 w 654766"/>
              <a:gd name="connsiteY17" fmla="*/ 74877 h 863010"/>
              <a:gd name="connsiteX18" fmla="*/ 21871 w 654766"/>
              <a:gd name="connsiteY18" fmla="*/ 68662 h 863010"/>
              <a:gd name="connsiteX19" fmla="*/ 28086 w 654766"/>
              <a:gd name="connsiteY19" fmla="*/ 62387 h 863010"/>
              <a:gd name="connsiteX20" fmla="*/ 31194 w 654766"/>
              <a:gd name="connsiteY20" fmla="*/ 56173 h 863010"/>
              <a:gd name="connsiteX21" fmla="*/ 34361 w 654766"/>
              <a:gd name="connsiteY21" fmla="*/ 53065 h 863010"/>
              <a:gd name="connsiteX22" fmla="*/ 40576 w 654766"/>
              <a:gd name="connsiteY22" fmla="*/ 46790 h 863010"/>
              <a:gd name="connsiteX23" fmla="*/ 46790 w 654766"/>
              <a:gd name="connsiteY23" fmla="*/ 40576 h 863010"/>
              <a:gd name="connsiteX24" fmla="*/ 49958 w 654766"/>
              <a:gd name="connsiteY24" fmla="*/ 37468 h 863010"/>
              <a:gd name="connsiteX25" fmla="*/ 56173 w 654766"/>
              <a:gd name="connsiteY25" fmla="*/ 31194 h 863010"/>
              <a:gd name="connsiteX26" fmla="*/ 62387 w 654766"/>
              <a:gd name="connsiteY26" fmla="*/ 28087 h 863010"/>
              <a:gd name="connsiteX27" fmla="*/ 68662 w 654766"/>
              <a:gd name="connsiteY27" fmla="*/ 24979 h 863010"/>
              <a:gd name="connsiteX28" fmla="*/ 74877 w 654766"/>
              <a:gd name="connsiteY28" fmla="*/ 21871 h 863010"/>
              <a:gd name="connsiteX29" fmla="*/ 81152 w 654766"/>
              <a:gd name="connsiteY29" fmla="*/ 15597 h 863010"/>
              <a:gd name="connsiteX30" fmla="*/ 90474 w 654766"/>
              <a:gd name="connsiteY30" fmla="*/ 12490 h 863010"/>
              <a:gd name="connsiteX31" fmla="*/ 96748 w 654766"/>
              <a:gd name="connsiteY31" fmla="*/ 9382 h 863010"/>
              <a:gd name="connsiteX32" fmla="*/ 102963 w 654766"/>
              <a:gd name="connsiteY32" fmla="*/ 9382 h 863010"/>
              <a:gd name="connsiteX33" fmla="*/ 109237 w 654766"/>
              <a:gd name="connsiteY33" fmla="*/ 6275 h 863010"/>
              <a:gd name="connsiteX34" fmla="*/ 118560 w 654766"/>
              <a:gd name="connsiteY34" fmla="*/ 3168 h 863010"/>
              <a:gd name="connsiteX35" fmla="*/ 124834 w 654766"/>
              <a:gd name="connsiteY35" fmla="*/ 3168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54766" h="863010" extrusionOk="0">
                <a:moveTo>
                  <a:pt x="134156" y="0"/>
                </a:moveTo>
                <a:lnTo>
                  <a:pt x="140431" y="0"/>
                </a:lnTo>
                <a:lnTo>
                  <a:pt x="149753" y="0"/>
                </a:lnTo>
                <a:lnTo>
                  <a:pt x="156029" y="0"/>
                </a:lnTo>
                <a:lnTo>
                  <a:pt x="649449" y="0"/>
                </a:lnTo>
                <a:lnTo>
                  <a:pt x="654766" y="863010"/>
                </a:lnTo>
                <a:lnTo>
                  <a:pt x="0" y="863010"/>
                </a:lnTo>
                <a:lnTo>
                  <a:pt x="0" y="143479"/>
                </a:lnTo>
                <a:lnTo>
                  <a:pt x="0" y="137264"/>
                </a:lnTo>
                <a:lnTo>
                  <a:pt x="0" y="127882"/>
                </a:lnTo>
                <a:lnTo>
                  <a:pt x="0" y="121667"/>
                </a:lnTo>
                <a:lnTo>
                  <a:pt x="3168" y="115393"/>
                </a:lnTo>
                <a:lnTo>
                  <a:pt x="3168" y="109178"/>
                </a:lnTo>
                <a:lnTo>
                  <a:pt x="6275" y="99796"/>
                </a:lnTo>
                <a:lnTo>
                  <a:pt x="9382" y="93582"/>
                </a:lnTo>
                <a:lnTo>
                  <a:pt x="12489" y="87366"/>
                </a:lnTo>
                <a:lnTo>
                  <a:pt x="15597" y="81092"/>
                </a:lnTo>
                <a:lnTo>
                  <a:pt x="18765" y="74877"/>
                </a:lnTo>
                <a:lnTo>
                  <a:pt x="21871" y="68662"/>
                </a:lnTo>
                <a:lnTo>
                  <a:pt x="28086" y="62387"/>
                </a:lnTo>
                <a:lnTo>
                  <a:pt x="31194" y="56173"/>
                </a:lnTo>
                <a:lnTo>
                  <a:pt x="34361" y="53065"/>
                </a:lnTo>
                <a:lnTo>
                  <a:pt x="40576" y="46790"/>
                </a:lnTo>
                <a:lnTo>
                  <a:pt x="46790" y="40576"/>
                </a:lnTo>
                <a:lnTo>
                  <a:pt x="49958" y="37468"/>
                </a:lnTo>
                <a:lnTo>
                  <a:pt x="56173" y="31194"/>
                </a:lnTo>
                <a:lnTo>
                  <a:pt x="62387" y="28087"/>
                </a:lnTo>
                <a:lnTo>
                  <a:pt x="68662" y="24979"/>
                </a:lnTo>
                <a:lnTo>
                  <a:pt x="74877" y="21871"/>
                </a:lnTo>
                <a:lnTo>
                  <a:pt x="81152" y="15597"/>
                </a:lnTo>
                <a:lnTo>
                  <a:pt x="90474" y="12490"/>
                </a:lnTo>
                <a:lnTo>
                  <a:pt x="96748" y="9382"/>
                </a:lnTo>
                <a:lnTo>
                  <a:pt x="102963" y="9382"/>
                </a:lnTo>
                <a:lnTo>
                  <a:pt x="109237" y="6275"/>
                </a:lnTo>
                <a:lnTo>
                  <a:pt x="118560" y="3168"/>
                </a:lnTo>
                <a:lnTo>
                  <a:pt x="124834" y="3168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/>
        </p:nvSpPr>
        <p:spPr bwMode="auto">
          <a:xfrm>
            <a:off x="4628995" y="2420077"/>
            <a:ext cx="2934010" cy="3581552"/>
          </a:xfrm>
          <a:custGeom>
            <a:avLst/>
            <a:gdLst>
              <a:gd name="connsiteX0" fmla="*/ 1145091 w 2743499"/>
              <a:gd name="connsiteY0" fmla="*/ 13427 h 3348995"/>
              <a:gd name="connsiteX1" fmla="*/ 16698 w 2743499"/>
              <a:gd name="connsiteY1" fmla="*/ 1466806 h 3348995"/>
              <a:gd name="connsiteX2" fmla="*/ 589779 w 2743499"/>
              <a:gd name="connsiteY2" fmla="*/ 2506578 h 3348995"/>
              <a:gd name="connsiteX3" fmla="*/ 743387 w 2743499"/>
              <a:gd name="connsiteY3" fmla="*/ 2949688 h 3348995"/>
              <a:gd name="connsiteX4" fmla="*/ 820219 w 2743499"/>
              <a:gd name="connsiteY4" fmla="*/ 3286463 h 3348995"/>
              <a:gd name="connsiteX5" fmla="*/ 1408946 w 2743499"/>
              <a:gd name="connsiteY5" fmla="*/ 3345582 h 3348995"/>
              <a:gd name="connsiteX6" fmla="*/ 1978171 w 2743499"/>
              <a:gd name="connsiteY6" fmla="*/ 3221477 h 3348995"/>
              <a:gd name="connsiteX7" fmla="*/ 2007730 w 2743499"/>
              <a:gd name="connsiteY7" fmla="*/ 2896548 h 3348995"/>
              <a:gd name="connsiteX8" fmla="*/ 2716650 w 2743499"/>
              <a:gd name="connsiteY8" fmla="*/ 1514078 h 3348995"/>
              <a:gd name="connsiteX9" fmla="*/ 1145091 w 2743499"/>
              <a:gd name="connsiteY9" fmla="*/ 13427 h 3348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43499" h="3348995" extrusionOk="0">
                <a:moveTo>
                  <a:pt x="1145091" y="13427"/>
                </a:moveTo>
                <a:cubicBezTo>
                  <a:pt x="453326" y="96126"/>
                  <a:pt x="-104780" y="765764"/>
                  <a:pt x="16698" y="1466806"/>
                </a:cubicBezTo>
                <a:cubicBezTo>
                  <a:pt x="102303" y="1838616"/>
                  <a:pt x="391749" y="2190981"/>
                  <a:pt x="589779" y="2506578"/>
                </a:cubicBezTo>
                <a:cubicBezTo>
                  <a:pt x="644148" y="2610175"/>
                  <a:pt x="727630" y="2834133"/>
                  <a:pt x="743387" y="2949688"/>
                </a:cubicBezTo>
                <a:cubicBezTo>
                  <a:pt x="764229" y="3050045"/>
                  <a:pt x="728188" y="3218572"/>
                  <a:pt x="820219" y="3286463"/>
                </a:cubicBezTo>
                <a:cubicBezTo>
                  <a:pt x="864195" y="3386763"/>
                  <a:pt x="1328370" y="3333121"/>
                  <a:pt x="1408946" y="3345582"/>
                </a:cubicBezTo>
                <a:cubicBezTo>
                  <a:pt x="1537744" y="3339212"/>
                  <a:pt x="1913297" y="3378326"/>
                  <a:pt x="1978171" y="3221477"/>
                </a:cubicBezTo>
                <a:cubicBezTo>
                  <a:pt x="2004881" y="3130452"/>
                  <a:pt x="2011307" y="2991485"/>
                  <a:pt x="2007730" y="2896548"/>
                </a:cubicBezTo>
                <a:cubicBezTo>
                  <a:pt x="2124738" y="2416559"/>
                  <a:pt x="2587908" y="1993174"/>
                  <a:pt x="2716650" y="1514078"/>
                </a:cubicBezTo>
                <a:cubicBezTo>
                  <a:pt x="2908254" y="563822"/>
                  <a:pt x="2042151" y="-104196"/>
                  <a:pt x="1145091" y="134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58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/>
        </p:nvSpPr>
        <p:spPr bwMode="auto">
          <a:xfrm>
            <a:off x="5329564" y="6075174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3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0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3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3"/>
                  <a:pt x="98187" y="155685"/>
                </a:cubicBezTo>
                <a:lnTo>
                  <a:pt x="1305927" y="959"/>
                </a:lnTo>
                <a:cubicBezTo>
                  <a:pt x="1367281" y="-6920"/>
                  <a:pt x="1423102" y="34598"/>
                  <a:pt x="1430702" y="93660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/>
        </p:nvSpPr>
        <p:spPr bwMode="auto">
          <a:xfrm>
            <a:off x="5329564" y="6359921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4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1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4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4"/>
                  <a:pt x="98187" y="155685"/>
                </a:cubicBezTo>
                <a:lnTo>
                  <a:pt x="1305927" y="959"/>
                </a:lnTo>
                <a:cubicBezTo>
                  <a:pt x="1367281" y="-6919"/>
                  <a:pt x="1423102" y="34598"/>
                  <a:pt x="1430702" y="93661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37" name="Freihandform: Form 36"/>
          <p:cNvSpPr/>
          <p:nvPr/>
        </p:nvSpPr>
        <p:spPr bwMode="auto">
          <a:xfrm>
            <a:off x="5353554" y="6644668"/>
            <a:ext cx="1508820" cy="213333"/>
          </a:xfrm>
          <a:custGeom>
            <a:avLst/>
            <a:gdLst>
              <a:gd name="connsiteX0" fmla="*/ 1372622 w 1508820"/>
              <a:gd name="connsiteY0" fmla="*/ 1026 h 213333"/>
              <a:gd name="connsiteX1" fmla="*/ 1506061 w 1508820"/>
              <a:gd name="connsiteY1" fmla="*/ 100165 h 213333"/>
              <a:gd name="connsiteX2" fmla="*/ 1507913 w 1508820"/>
              <a:gd name="connsiteY2" fmla="*/ 114446 h 213333"/>
              <a:gd name="connsiteX3" fmla="*/ 1483472 w 1508820"/>
              <a:gd name="connsiteY3" fmla="*/ 199751 h 213333"/>
              <a:gd name="connsiteX4" fmla="*/ 1467452 w 1508820"/>
              <a:gd name="connsiteY4" fmla="*/ 213333 h 213333"/>
              <a:gd name="connsiteX5" fmla="*/ 0 w 1508820"/>
              <a:gd name="connsiteY5" fmla="*/ 213333 h 213333"/>
              <a:gd name="connsiteX6" fmla="*/ 1359 w 1508820"/>
              <a:gd name="connsiteY6" fmla="*/ 210746 h 213333"/>
              <a:gd name="connsiteX7" fmla="*/ 81015 w 1508820"/>
              <a:gd name="connsiteY7" fmla="*/ 166496 h 21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08820" h="213333" extrusionOk="0">
                <a:moveTo>
                  <a:pt x="1372622" y="1026"/>
                </a:moveTo>
                <a:cubicBezTo>
                  <a:pt x="1438236" y="-7400"/>
                  <a:pt x="1497933" y="37001"/>
                  <a:pt x="1506061" y="100165"/>
                </a:cubicBezTo>
                <a:lnTo>
                  <a:pt x="1507913" y="114446"/>
                </a:lnTo>
                <a:cubicBezTo>
                  <a:pt x="1511947" y="146029"/>
                  <a:pt x="1502311" y="176311"/>
                  <a:pt x="1483472" y="199751"/>
                </a:cubicBezTo>
                <a:lnTo>
                  <a:pt x="1467452" y="213333"/>
                </a:lnTo>
                <a:lnTo>
                  <a:pt x="0" y="213333"/>
                </a:lnTo>
                <a:lnTo>
                  <a:pt x="1359" y="210746"/>
                </a:lnTo>
                <a:cubicBezTo>
                  <a:pt x="20197" y="187306"/>
                  <a:pt x="48239" y="170709"/>
                  <a:pt x="81015" y="16649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296000" y="1601496"/>
            <a:ext cx="36000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et 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8262815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5" name="Textplatzhalter 71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262815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636205" y="5243899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7" name="Textplatzhalter 71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550862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5243899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5" imgW="7772400" imgH="10058400" progId="TCLayout.ActiveDocument.1">
                  <p:embed/>
                </p:oleObj>
              </mc:Choice>
              <mc:Fallback>
                <p:oleObj name="oleObj" r:id="rId15" imgW="7772400" imgH="1005840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16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/>
          <p:cNvCxnSpPr>
            <a:cxnSpLocks/>
          </p:cNvCxnSpPr>
          <p:nvPr userDrawn="1"/>
        </p:nvCxnSpPr>
        <p:spPr bwMode="auto">
          <a:xfrm>
            <a:off x="560515" y="6484664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 b="0" i="0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5" name="Freihandform: Form 2"/>
          <p:cNvSpPr/>
          <p:nvPr userDrawn="1"/>
        </p:nvSpPr>
        <p:spPr bwMode="auto">
          <a:xfrm>
            <a:off x="211225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4"/>
          <p:cNvSpPr/>
          <p:nvPr userDrawn="1"/>
        </p:nvSpPr>
        <p:spPr bwMode="auto">
          <a:xfrm>
            <a:off x="367251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2" name="Freihandform: Form 5"/>
          <p:cNvSpPr/>
          <p:nvPr userDrawn="1"/>
        </p:nvSpPr>
        <p:spPr bwMode="auto">
          <a:xfrm>
            <a:off x="2631559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3" name="Freihandform: Form 6"/>
          <p:cNvSpPr/>
          <p:nvPr userDrawn="1"/>
        </p:nvSpPr>
        <p:spPr bwMode="auto">
          <a:xfrm>
            <a:off x="1592943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6" name="Freihandform: Form 7"/>
          <p:cNvSpPr/>
          <p:nvPr userDrawn="1"/>
        </p:nvSpPr>
        <p:spPr bwMode="auto">
          <a:xfrm>
            <a:off x="3146894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8" name="Freihandform: Form 8"/>
          <p:cNvSpPr/>
          <p:nvPr userDrawn="1"/>
        </p:nvSpPr>
        <p:spPr bwMode="auto">
          <a:xfrm>
            <a:off x="1073635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9" name="Freihandform: Form 4"/>
          <p:cNvSpPr/>
          <p:nvPr userDrawn="1"/>
        </p:nvSpPr>
        <p:spPr bwMode="auto">
          <a:xfrm>
            <a:off x="554327" y="188501"/>
            <a:ext cx="108000" cy="108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22" name="Freihandform 21"/>
          <p:cNvSpPr/>
          <p:nvPr userDrawn="1"/>
        </p:nvSpPr>
        <p:spPr bwMode="auto">
          <a:xfrm rot="21289040">
            <a:off x="10722570" y="200240"/>
            <a:ext cx="1472723" cy="1020433"/>
          </a:xfrm>
          <a:custGeom>
            <a:avLst/>
            <a:gdLst>
              <a:gd name="connsiteX0" fmla="*/ 1012272 w 1559302"/>
              <a:gd name="connsiteY0" fmla="*/ 1420 h 1083206"/>
              <a:gd name="connsiteX1" fmla="*/ 1508010 w 1559302"/>
              <a:gd name="connsiteY1" fmla="*/ 389121 h 1083206"/>
              <a:gd name="connsiteX2" fmla="*/ 1559302 w 1559302"/>
              <a:gd name="connsiteY2" fmla="*/ 505984 h 1083206"/>
              <a:gd name="connsiteX3" fmla="*/ 1517685 w 1559302"/>
              <a:gd name="connsiteY3" fmla="*/ 964814 h 1083206"/>
              <a:gd name="connsiteX4" fmla="*/ 1441103 w 1559302"/>
              <a:gd name="connsiteY4" fmla="*/ 1018179 h 1083206"/>
              <a:gd name="connsiteX5" fmla="*/ 821443 w 1559302"/>
              <a:gd name="connsiteY5" fmla="*/ 1062436 h 1083206"/>
              <a:gd name="connsiteX6" fmla="*/ 5658 w 1559302"/>
              <a:gd name="connsiteY6" fmla="*/ 460105 h 1083206"/>
              <a:gd name="connsiteX7" fmla="*/ 1012272 w 1559302"/>
              <a:gd name="connsiteY7" fmla="*/ 1420 h 1083206"/>
              <a:gd name="connsiteX0" fmla="*/ 1028712 w 1575742"/>
              <a:gd name="connsiteY0" fmla="*/ 2514 h 1084300"/>
              <a:gd name="connsiteX1" fmla="*/ 1524450 w 1575742"/>
              <a:gd name="connsiteY1" fmla="*/ 390215 h 1084300"/>
              <a:gd name="connsiteX2" fmla="*/ 1575742 w 1575742"/>
              <a:gd name="connsiteY2" fmla="*/ 507078 h 1084300"/>
              <a:gd name="connsiteX3" fmla="*/ 1534125 w 1575742"/>
              <a:gd name="connsiteY3" fmla="*/ 965908 h 1084300"/>
              <a:gd name="connsiteX4" fmla="*/ 1457543 w 1575742"/>
              <a:gd name="connsiteY4" fmla="*/ 1019273 h 1084300"/>
              <a:gd name="connsiteX5" fmla="*/ 837883 w 1575742"/>
              <a:gd name="connsiteY5" fmla="*/ 1063530 h 1084300"/>
              <a:gd name="connsiteX6" fmla="*/ 22098 w 1575742"/>
              <a:gd name="connsiteY6" fmla="*/ 461199 h 1084300"/>
              <a:gd name="connsiteX7" fmla="*/ 1028712 w 1575742"/>
              <a:gd name="connsiteY7" fmla="*/ 2514 h 108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75742" h="1084300" extrusionOk="0">
                <a:moveTo>
                  <a:pt x="1028712" y="2514"/>
                </a:moveTo>
                <a:cubicBezTo>
                  <a:pt x="1229932" y="17329"/>
                  <a:pt x="1416068" y="186100"/>
                  <a:pt x="1524450" y="390215"/>
                </a:cubicBezTo>
                <a:lnTo>
                  <a:pt x="1575742" y="507078"/>
                </a:lnTo>
                <a:lnTo>
                  <a:pt x="1534125" y="965908"/>
                </a:lnTo>
                <a:lnTo>
                  <a:pt x="1457543" y="1019273"/>
                </a:lnTo>
                <a:cubicBezTo>
                  <a:pt x="1297498" y="1099373"/>
                  <a:pt x="1048487" y="1094253"/>
                  <a:pt x="837883" y="1063530"/>
                </a:cubicBezTo>
                <a:cubicBezTo>
                  <a:pt x="404650" y="1019453"/>
                  <a:pt x="-113874" y="791618"/>
                  <a:pt x="22098" y="461199"/>
                </a:cubicBezTo>
                <a:cubicBezTo>
                  <a:pt x="158070" y="130780"/>
                  <a:pt x="520310" y="-21846"/>
                  <a:pt x="1028712" y="2514"/>
                </a:cubicBezTo>
                <a:close/>
              </a:path>
            </a:pathLst>
          </a:custGeom>
          <a:solidFill>
            <a:srgbClr val="DEC62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  <a:defRPr/>
            </a:pP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reihandform: Form 2"/>
          <p:cNvSpPr/>
          <p:nvPr userDrawn="1"/>
        </p:nvSpPr>
        <p:spPr bwMode="auto">
          <a:xfrm>
            <a:off x="213350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 userDrawn="1"/>
        </p:nvSpPr>
        <p:spPr bwMode="auto">
          <a:xfrm>
            <a:off x="369376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 userDrawn="1"/>
        </p:nvSpPr>
        <p:spPr bwMode="auto">
          <a:xfrm>
            <a:off x="2652810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 userDrawn="1"/>
        </p:nvSpPr>
        <p:spPr bwMode="auto">
          <a:xfrm>
            <a:off x="1614194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8" name="Freihandform: Form 7"/>
          <p:cNvSpPr/>
          <p:nvPr userDrawn="1"/>
        </p:nvSpPr>
        <p:spPr bwMode="auto">
          <a:xfrm>
            <a:off x="3168146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9" name="Freihandform: Form 8"/>
          <p:cNvSpPr/>
          <p:nvPr userDrawn="1"/>
        </p:nvSpPr>
        <p:spPr bwMode="auto">
          <a:xfrm>
            <a:off x="1094886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4" name="Freihandform: Form 4"/>
          <p:cNvSpPr/>
          <p:nvPr userDrawn="1"/>
        </p:nvSpPr>
        <p:spPr bwMode="auto">
          <a:xfrm>
            <a:off x="575578" y="6480332"/>
            <a:ext cx="180000" cy="180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grpSp>
        <p:nvGrpSpPr>
          <p:cNvPr id="49" name="Gruppieren 48"/>
          <p:cNvGrpSpPr/>
          <p:nvPr userDrawn="1"/>
        </p:nvGrpSpPr>
        <p:grpSpPr bwMode="auto">
          <a:xfrm>
            <a:off x="0" y="-141789"/>
            <a:ext cx="7948338" cy="4202173"/>
            <a:chOff x="0" y="-141789"/>
            <a:chExt cx="7948338" cy="4202173"/>
          </a:xfrm>
        </p:grpSpPr>
        <p:sp>
          <p:nvSpPr>
            <p:cNvPr id="43" name="Freihandform 42"/>
            <p:cNvSpPr/>
            <p:nvPr userDrawn="1"/>
          </p:nvSpPr>
          <p:spPr bwMode="auto">
            <a:xfrm rot="13735889">
              <a:off x="2308096" y="351702"/>
              <a:ext cx="4202173" cy="3215192"/>
            </a:xfrm>
            <a:custGeom>
              <a:avLst/>
              <a:gdLst>
                <a:gd name="connsiteX0" fmla="*/ 4201782 w 4202173"/>
                <a:gd name="connsiteY0" fmla="*/ 2179218 h 3215192"/>
                <a:gd name="connsiteX1" fmla="*/ 3332553 w 4202173"/>
                <a:gd name="connsiteY1" fmla="*/ 3176739 h 3215192"/>
                <a:gd name="connsiteX2" fmla="*/ 3213375 w 4202173"/>
                <a:gd name="connsiteY2" fmla="*/ 3196508 h 3215192"/>
                <a:gd name="connsiteX3" fmla="*/ 2220165 w 4202173"/>
                <a:gd name="connsiteY3" fmla="*/ 3150484 h 3215192"/>
                <a:gd name="connsiteX4" fmla="*/ 88068 w 4202173"/>
                <a:gd name="connsiteY4" fmla="*/ 1265960 h 3215192"/>
                <a:gd name="connsiteX5" fmla="*/ 3011345 w 4202173"/>
                <a:gd name="connsiteY5" fmla="*/ 11538 h 3215192"/>
                <a:gd name="connsiteX6" fmla="*/ 4202173 w 4202173"/>
                <a:gd name="connsiteY6" fmla="*/ 2044941 h 321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02173" h="3215192" extrusionOk="0">
                  <a:moveTo>
                    <a:pt x="4201782" y="2179218"/>
                  </a:moveTo>
                  <a:lnTo>
                    <a:pt x="3332553" y="3176739"/>
                  </a:lnTo>
                  <a:lnTo>
                    <a:pt x="3213375" y="3196508"/>
                  </a:lnTo>
                  <a:cubicBezTo>
                    <a:pt x="2893715" y="3236628"/>
                    <a:pt x="2539471" y="3207914"/>
                    <a:pt x="2220165" y="3150484"/>
                  </a:cubicBezTo>
                  <a:cubicBezTo>
                    <a:pt x="1376361" y="2997170"/>
                    <a:pt x="-416724" y="2378467"/>
                    <a:pt x="88068" y="1265960"/>
                  </a:cubicBezTo>
                  <a:cubicBezTo>
                    <a:pt x="592860" y="153452"/>
                    <a:pt x="2190126" y="-56526"/>
                    <a:pt x="3011345" y="11538"/>
                  </a:cubicBezTo>
                  <a:cubicBezTo>
                    <a:pt x="3774038" y="80772"/>
                    <a:pt x="4179417" y="1082780"/>
                    <a:pt x="4202173" y="2044941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5" name="Freihandform 44"/>
            <p:cNvSpPr/>
            <p:nvPr userDrawn="1"/>
          </p:nvSpPr>
          <p:spPr bwMode="auto">
            <a:xfrm>
              <a:off x="4243774" y="0"/>
              <a:ext cx="3704564" cy="3289426"/>
            </a:xfrm>
            <a:custGeom>
              <a:avLst/>
              <a:gdLst>
                <a:gd name="connsiteX0" fmla="*/ 2119791 w 3704564"/>
                <a:gd name="connsiteY0" fmla="*/ 0 h 3289426"/>
                <a:gd name="connsiteX1" fmla="*/ 2697650 w 3704564"/>
                <a:gd name="connsiteY1" fmla="*/ 0 h 3289426"/>
                <a:gd name="connsiteX2" fmla="*/ 2785686 w 3704564"/>
                <a:gd name="connsiteY2" fmla="*/ 29039 h 3289426"/>
                <a:gd name="connsiteX3" fmla="*/ 3703591 w 3704564"/>
                <a:gd name="connsiteY3" fmla="*/ 1953641 h 3289426"/>
                <a:gd name="connsiteX4" fmla="*/ 1451079 w 3704564"/>
                <a:gd name="connsiteY4" fmla="*/ 3255494 h 3289426"/>
                <a:gd name="connsiteX5" fmla="*/ 23745 w 3704564"/>
                <a:gd name="connsiteY5" fmla="*/ 1274993 h 3289426"/>
                <a:gd name="connsiteX6" fmla="*/ 2055769 w 3704564"/>
                <a:gd name="connsiteY6" fmla="*/ 12473 h 328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4564" h="3289426" extrusionOk="0">
                  <a:moveTo>
                    <a:pt x="2119791" y="0"/>
                  </a:moveTo>
                  <a:lnTo>
                    <a:pt x="2697650" y="0"/>
                  </a:lnTo>
                  <a:lnTo>
                    <a:pt x="2785686" y="29039"/>
                  </a:lnTo>
                  <a:cubicBezTo>
                    <a:pt x="3348473" y="258001"/>
                    <a:pt x="3726330" y="1025209"/>
                    <a:pt x="3703591" y="1953641"/>
                  </a:cubicBezTo>
                  <a:cubicBezTo>
                    <a:pt x="3677799" y="3014706"/>
                    <a:pt x="2182200" y="3415426"/>
                    <a:pt x="1451079" y="3255494"/>
                  </a:cubicBezTo>
                  <a:cubicBezTo>
                    <a:pt x="726552" y="3095383"/>
                    <a:pt x="-156612" y="1823384"/>
                    <a:pt x="23745" y="1274993"/>
                  </a:cubicBezTo>
                  <a:cubicBezTo>
                    <a:pt x="170284" y="829424"/>
                    <a:pt x="1270226" y="196157"/>
                    <a:pt x="2055769" y="12473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0" name="Freihandform 39"/>
            <p:cNvSpPr/>
            <p:nvPr userDrawn="1"/>
          </p:nvSpPr>
          <p:spPr bwMode="auto">
            <a:xfrm>
              <a:off x="0" y="0"/>
              <a:ext cx="3759048" cy="3427376"/>
            </a:xfrm>
            <a:custGeom>
              <a:avLst/>
              <a:gdLst>
                <a:gd name="connsiteX0" fmla="*/ 1533802 w 3759048"/>
                <a:gd name="connsiteY0" fmla="*/ 0 h 3427376"/>
                <a:gd name="connsiteX1" fmla="*/ 2608111 w 3759048"/>
                <a:gd name="connsiteY1" fmla="*/ 0 h 3427376"/>
                <a:gd name="connsiteX2" fmla="*/ 2620438 w 3759048"/>
                <a:gd name="connsiteY2" fmla="*/ 1407 h 3427376"/>
                <a:gd name="connsiteX3" fmla="*/ 2781319 w 3759048"/>
                <a:gd name="connsiteY3" fmla="*/ 27924 h 3427376"/>
                <a:gd name="connsiteX4" fmla="*/ 3724377 w 3759048"/>
                <a:gd name="connsiteY4" fmla="*/ 2509186 h 3427376"/>
                <a:gd name="connsiteX5" fmla="*/ 1652306 w 3759048"/>
                <a:gd name="connsiteY5" fmla="*/ 3276202 h 3427376"/>
                <a:gd name="connsiteX6" fmla="*/ 150832 w 3759048"/>
                <a:gd name="connsiteY6" fmla="*/ 2497914 h 3427376"/>
                <a:gd name="connsiteX7" fmla="*/ 0 w 3759048"/>
                <a:gd name="connsiteY7" fmla="*/ 2359105 h 3427376"/>
                <a:gd name="connsiteX8" fmla="*/ 0 w 3759048"/>
                <a:gd name="connsiteY8" fmla="*/ 698508 h 3427376"/>
                <a:gd name="connsiteX9" fmla="*/ 11267 w 3759048"/>
                <a:gd name="connsiteY9" fmla="*/ 685208 h 3427376"/>
                <a:gd name="connsiteX10" fmla="*/ 1516571 w 3759048"/>
                <a:gd name="connsiteY10" fmla="*/ 1754 h 3427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9048" h="3427376" extrusionOk="0">
                  <a:moveTo>
                    <a:pt x="1533802" y="0"/>
                  </a:moveTo>
                  <a:lnTo>
                    <a:pt x="2608111" y="0"/>
                  </a:lnTo>
                  <a:lnTo>
                    <a:pt x="2620438" y="1407"/>
                  </a:lnTo>
                  <a:cubicBezTo>
                    <a:pt x="2676910" y="9265"/>
                    <a:pt x="2730683" y="18173"/>
                    <a:pt x="2781319" y="27924"/>
                  </a:cubicBezTo>
                  <a:cubicBezTo>
                    <a:pt x="3583231" y="189290"/>
                    <a:pt x="3864992" y="1434718"/>
                    <a:pt x="3724377" y="2509186"/>
                  </a:cubicBezTo>
                  <a:cubicBezTo>
                    <a:pt x="3583988" y="3583677"/>
                    <a:pt x="2483372" y="3525538"/>
                    <a:pt x="1652306" y="3276202"/>
                  </a:cubicBezTo>
                  <a:cubicBezTo>
                    <a:pt x="1240605" y="3151836"/>
                    <a:pt x="605285" y="2879851"/>
                    <a:pt x="150832" y="2497914"/>
                  </a:cubicBezTo>
                  <a:lnTo>
                    <a:pt x="0" y="2359105"/>
                  </a:lnTo>
                  <a:lnTo>
                    <a:pt x="0" y="698508"/>
                  </a:lnTo>
                  <a:lnTo>
                    <a:pt x="11267" y="685208"/>
                  </a:lnTo>
                  <a:cubicBezTo>
                    <a:pt x="406379" y="275284"/>
                    <a:pt x="969683" y="76753"/>
                    <a:pt x="1516571" y="1754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mebis.bycs.de/beitrag/ki-in-der-schule" TargetMode="External"/><Relationship Id="rId3" Type="http://schemas.openxmlformats.org/officeDocument/2006/relationships/image" Target="../media/image5.jpg"/><Relationship Id="rId7" Type="http://schemas.openxmlformats.org/officeDocument/2006/relationships/hyperlink" Target="https://mebis.bycs.de/kategorien/medienerziehung/medienpaedagogische-elternarbei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mebis.bycs.de/kategorien/medienerziehung/themen-im-fokus-me/kuenstliche-intelligenz" TargetMode="External"/><Relationship Id="rId5" Type="http://schemas.openxmlformats.org/officeDocument/2006/relationships/hyperlink" Target="https://www.km.bayern.de/gestalten/digitalisierung/kuenstliche-intelligenz" TargetMode="External"/><Relationship Id="rId4" Type="http://schemas.openxmlformats.org/officeDocument/2006/relationships/hyperlink" Target="https://fibs.alp.dillingen.de/lehrgangssuche?container_id=410953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.png"/><Relationship Id="rId4" Type="http://schemas.openxmlformats.org/officeDocument/2006/relationships/hyperlink" Target="https://9177.drive.bycs.de/s/yxqWUkfrkOMajAj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hyperlink" Target="https://www.klicksafe.de/kuenstliche-intelligenz" TargetMode="External"/><Relationship Id="rId7" Type="http://schemas.openxmlformats.org/officeDocument/2006/relationships/hyperlink" Target="https://www.fragzebra.de/themenwelt/k%C3%BCnstliche-intelligenz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hyperlink" Target="https://www.km.bayern.de/gestalten/digitalisierung/kuenstliche-intelligenz" TargetMode="External"/><Relationship Id="rId10" Type="http://schemas.openxmlformats.org/officeDocument/2006/relationships/image" Target="../media/image19.png"/><Relationship Id="rId4" Type="http://schemas.openxmlformats.org/officeDocument/2006/relationships/image" Target="../media/image16.png"/><Relationship Id="rId9" Type="http://schemas.openxmlformats.org/officeDocument/2006/relationships/hyperlink" Target="https://www.ardaudiothek.de/sendung/der-ki-podcast/94632864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-nc/4.0/deed.de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 show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861774"/>
          </a:xfrm>
        </p:spPr>
        <p:txBody>
          <a:bodyPr/>
          <a:lstStyle/>
          <a:p>
            <a:pPr>
              <a:defRPr/>
            </a:pPr>
            <a:r>
              <a:rPr lang="de-DE"/>
              <a:t>Bevor sie diese Präsentation auf ihrem elternabend zeigen wollen …</a:t>
            </a:r>
            <a:endParaRPr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</a:t>
            </a:fld>
            <a:endParaRPr lang="de-DE"/>
          </a:p>
        </p:txBody>
      </p:sp>
      <p:pic>
        <p:nvPicPr>
          <p:cNvPr id="6" name="Grafik 5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50863" y="1779342"/>
            <a:ext cx="1029384" cy="1029384"/>
          </a:xfrm>
          <a:prstGeom prst="rect">
            <a:avLst/>
          </a:prstGeom>
        </p:spPr>
      </p:pic>
      <p:sp>
        <p:nvSpPr>
          <p:cNvPr id="7" name="Textplatzhalter 1"/>
          <p:cNvSpPr txBox="1"/>
          <p:nvPr/>
        </p:nvSpPr>
        <p:spPr bwMode="auto">
          <a:xfrm>
            <a:off x="1580247" y="1687988"/>
            <a:ext cx="9877426" cy="5004895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>
            <a:normAutofit fontScale="92500" lnSpcReduction="10000"/>
          </a:bodyPr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/>
              <a:t>… noch einige wichtige Hinweise: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Informieren Sie sich über die Grundlagen der Arbeit mit KI-Anwendungen, indem Sie den entsprechenden </a:t>
            </a:r>
            <a:r>
              <a:rPr lang="de-DE" u="sng">
                <a:hlinkClick r:id="rId4" tooltip="https://fibs.alp.dillingen.de/lehrgangssuche?container_id=410953"/>
              </a:rPr>
              <a:t>Selbstlernkurs</a:t>
            </a:r>
            <a:r>
              <a:rPr lang="de-DE"/>
              <a:t> der ALP Dillingen bearbeiten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Beachten Sie die Hinweise des </a:t>
            </a:r>
            <a:r>
              <a:rPr lang="de-DE" u="sng">
                <a:hlinkClick r:id="rId5" tooltip="https://www.km.bayern.de/gestalten/digitalisierung/kuenstliche-intelligenz"/>
              </a:rPr>
              <a:t>StMUK</a:t>
            </a:r>
            <a:r>
              <a:rPr lang="de-DE"/>
              <a:t> zu Künstlicher Intelligenz in Schule und Unterricht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Weitere Hinweise zum Thema „Künstliche Intelligenz“ finden Sie auch im </a:t>
            </a:r>
            <a:r>
              <a:rPr lang="de-DE" u="sng">
                <a:hlinkClick r:id="rId6" tooltip="https://mebis.bycs.de/kategorien/medienerziehung/themen-im-fokus-me/kuenstliche-intelligenz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Holen Sie sich Tipps zur Durchführung eines medienpädagogischen Elternabends ebenfalls im </a:t>
            </a:r>
            <a:r>
              <a:rPr lang="de-DE" u="sng">
                <a:hlinkClick r:id="rId7" tooltip="https://mebis.bycs.de/kategorien/medienerziehung/medienpaedagogische-elternarbeit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Eine Sammlung mit Argumentationshilfen bei kritischen Elternfragen finden Sie </a:t>
            </a:r>
            <a:r>
              <a:rPr lang="de-DE" u="sng">
                <a:hlinkClick r:id="rId8" tooltip="https://mebis.bycs.de/beitrag/ki-in-der-schule"/>
              </a:rPr>
              <a:t>hier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endParaRPr lang="de-DE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0860" y="5124852"/>
            <a:ext cx="5545854" cy="603863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Herzlich willkommen </a:t>
            </a:r>
            <a:b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</a:b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zum Elternabend am XX.XX.XXXX </a:t>
            </a:r>
            <a:endParaRPr lang="de-DE" spc="10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rcRect t="1719" b="1718"/>
          <a:stretch/>
        </p:blipFill>
        <p:spPr bwMode="auto">
          <a:xfrm>
            <a:off x="7667825" y="1923775"/>
            <a:ext cx="4524175" cy="4368639"/>
          </a:xfrm>
          <a:prstGeom prst="rect">
            <a:avLst/>
          </a:prstGeom>
        </p:spPr>
      </p:pic>
      <p:grpSp>
        <p:nvGrpSpPr>
          <p:cNvPr id="15" name="Gruppieren 14"/>
          <p:cNvGrpSpPr/>
          <p:nvPr/>
        </p:nvGrpSpPr>
        <p:grpSpPr bwMode="auto">
          <a:xfrm>
            <a:off x="7453023" y="6352222"/>
            <a:ext cx="4184650" cy="123111"/>
            <a:chOff x="7453023" y="6352222"/>
            <a:chExt cx="4184650" cy="123111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7453023" y="6352222"/>
              <a:ext cx="1724832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 dirty="0">
                  <a:solidFill>
                    <a:schemeClr val="tx1"/>
                  </a:solidFill>
                  <a:latin typeface="Aptos"/>
                </a:rPr>
                <a:t>Erstellt am 06.06.2025 mit ChatGPT-4</a:t>
              </a:r>
              <a:endParaRPr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>
          <a:xfrm>
            <a:off x="550861" y="337165"/>
            <a:ext cx="7436367" cy="2472472"/>
          </a:xfrm>
        </p:spPr>
        <p:txBody>
          <a:bodyPr/>
          <a:lstStyle/>
          <a:p>
            <a:pPr>
              <a:defRPr/>
            </a:pPr>
            <a:r>
              <a:rPr lang="de-DE"/>
              <a:t>Chancen von </a:t>
            </a:r>
            <a:endParaRPr/>
          </a:p>
          <a:p>
            <a:pPr>
              <a:defRPr/>
            </a:pPr>
            <a:r>
              <a:rPr lang="de-DE"/>
              <a:t>KI-Anwendungen</a:t>
            </a:r>
            <a:endParaRPr/>
          </a:p>
          <a:p>
            <a:pPr>
              <a:defRPr/>
            </a:pPr>
            <a:r>
              <a:rPr lang="de-DE"/>
              <a:t>in der Schule</a:t>
            </a:r>
            <a:endParaRPr/>
          </a:p>
        </p:txBody>
      </p:sp>
      <p:sp>
        <p:nvSpPr>
          <p:cNvPr id="2" name="Foliennummernplatzhalter 5"/>
          <p:cNvSpPr txBox="1"/>
          <p:nvPr/>
        </p:nvSpPr>
        <p:spPr bwMode="auto">
          <a:xfrm>
            <a:off x="550861" y="5832738"/>
            <a:ext cx="3528209" cy="24622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>
                <a:solidFill>
                  <a:schemeClr val="tx1"/>
                </a:solidFill>
                <a:latin typeface="Aptos"/>
              </a:rPr>
              <a:t>Alle nicht gesondert gekennzeichneten Grafiken in dieser Präsentation sind von: </a:t>
            </a:r>
            <a:endParaRPr/>
          </a:p>
          <a:p>
            <a:pPr>
              <a:defRPr/>
            </a:pPr>
            <a:r>
              <a:rPr lang="de-DE">
                <a:solidFill>
                  <a:schemeClr val="tx1"/>
                </a:solidFill>
                <a:latin typeface="Aptos"/>
              </a:rPr>
              <a:t>BLM Stiftung Medienpädagogik Bayern, CC-BY-NC-4.0</a:t>
            </a:r>
            <a:endParaRPr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455674" y="952885"/>
            <a:ext cx="10617754" cy="853799"/>
          </a:xfrm>
        </p:spPr>
        <p:txBody>
          <a:bodyPr/>
          <a:lstStyle/>
          <a:p>
            <a:pPr>
              <a:defRPr/>
            </a:pPr>
            <a:r>
              <a:rPr lang="de-DE"/>
              <a:t>Welche Chancen bieten KI-Anwendungen im Unterricht?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618444" y="2943416"/>
            <a:ext cx="10743873" cy="3000353"/>
          </a:xfrm>
        </p:spPr>
        <p:txBody>
          <a:bodyPr/>
          <a:lstStyle/>
          <a:p>
            <a:pPr>
              <a:defRPr/>
            </a:pPr>
            <a:r>
              <a:rPr lang="de-DE" sz="2400"/>
              <a:t>zur Lernunterstützung durch gestufte Hilfen</a:t>
            </a:r>
            <a:endParaRPr/>
          </a:p>
          <a:p>
            <a:pPr>
              <a:defRPr/>
            </a:pPr>
            <a:r>
              <a:rPr lang="de-DE" sz="2400"/>
              <a:t>zur gezielten Förderung/Differenzierung</a:t>
            </a:r>
            <a:endParaRPr/>
          </a:p>
          <a:p>
            <a:pPr>
              <a:defRPr/>
            </a:pPr>
            <a:r>
              <a:rPr lang="de-DE" sz="2400"/>
              <a:t>für Hilfestellungen in kreativen Aufgaben</a:t>
            </a:r>
            <a:endParaRPr/>
          </a:p>
          <a:p>
            <a:pPr>
              <a:defRPr/>
            </a:pPr>
            <a:r>
              <a:rPr lang="de-DE" sz="2400"/>
              <a:t>zur Erstellung von multimedialen Inhalten (Podcast, Hörspiel)</a:t>
            </a:r>
            <a:endParaRPr/>
          </a:p>
          <a:p>
            <a:pPr>
              <a:defRPr/>
            </a:pPr>
            <a:r>
              <a:rPr lang="de-DE" sz="2400"/>
              <a:t>als Unterstützung bei der Erstellung von Unterrichtsmaterialien</a:t>
            </a:r>
            <a:endParaRPr/>
          </a:p>
          <a:p>
            <a:pPr>
              <a:defRPr/>
            </a:pPr>
            <a:r>
              <a:rPr lang="de-DE" sz="2400"/>
              <a:t>als organisatorische Hilfe (Planung, Formulierung, etc.)</a:t>
            </a:r>
            <a:endParaRPr lang="de-DE"/>
          </a:p>
          <a:p>
            <a:pPr marL="0" indent="0">
              <a:buNone/>
              <a:defRPr/>
            </a:pPr>
            <a:endParaRPr/>
          </a:p>
          <a:p>
            <a:pPr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  <a:p>
            <a:pPr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3</a:t>
            </a:fld>
            <a:endParaRPr lang="de-DE"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6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1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18" name="Textfeld 17"/>
          <p:cNvSpPr txBox="1"/>
          <p:nvPr/>
        </p:nvSpPr>
        <p:spPr bwMode="auto">
          <a:xfrm>
            <a:off x="455674" y="2116377"/>
            <a:ext cx="6470066" cy="4575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400">
                <a:latin typeface="Aptos"/>
              </a:rPr>
              <a:t>KI-Anwendungen können eingesetzt werden…</a:t>
            </a:r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auto">
          <a:xfrm>
            <a:off x="556034" y="1231092"/>
            <a:ext cx="9211612" cy="427079"/>
          </a:xfrm>
        </p:spPr>
        <p:txBody>
          <a:bodyPr/>
          <a:lstStyle/>
          <a:p>
            <a:pPr>
              <a:defRPr/>
            </a:pPr>
            <a:r>
              <a:rPr lang="de-DE"/>
              <a:t>Ganz besonders wichtig ist uns:</a:t>
            </a:r>
            <a:endParaRPr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4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17" name="Gruppieren 16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18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9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1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29" name="Textplatzhalter 3"/>
          <p:cNvSpPr txBox="1"/>
          <p:nvPr/>
        </p:nvSpPr>
        <p:spPr bwMode="auto">
          <a:xfrm>
            <a:off x="3458817" y="2377551"/>
            <a:ext cx="7344299" cy="3249357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2400">
                <a:solidFill>
                  <a:srgbClr val="C00000"/>
                </a:solidFill>
              </a:rPr>
              <a:t>In der Schule werden nur KI-Anwendungen eingesetzt, die </a:t>
            </a:r>
            <a:r>
              <a:rPr lang="de-DE" sz="2400" b="1">
                <a:solidFill>
                  <a:srgbClr val="C00000"/>
                </a:solidFill>
              </a:rPr>
              <a:t>geprüft </a:t>
            </a:r>
            <a:r>
              <a:rPr lang="de-DE" sz="2400">
                <a:solidFill>
                  <a:srgbClr val="C00000"/>
                </a:solidFill>
              </a:rPr>
              <a:t>und für den Einsatz in der Schule </a:t>
            </a:r>
            <a:r>
              <a:rPr lang="de-DE" sz="2400" b="1">
                <a:solidFill>
                  <a:srgbClr val="C00000"/>
                </a:solidFill>
              </a:rPr>
              <a:t>freigegeben </a:t>
            </a:r>
            <a:r>
              <a:rPr lang="de-DE" sz="2400">
                <a:solidFill>
                  <a:srgbClr val="C00000"/>
                </a:solidFill>
              </a:rPr>
              <a:t>sind.</a:t>
            </a:r>
            <a:endParaRPr sz="2400"/>
          </a:p>
          <a:p>
            <a:pPr>
              <a:defRPr/>
            </a:pPr>
            <a:r>
              <a:rPr lang="de-DE" sz="2400">
                <a:solidFill>
                  <a:srgbClr val="C00000"/>
                </a:solidFill>
              </a:rPr>
              <a:t>Die </a:t>
            </a:r>
            <a:r>
              <a:rPr lang="de-DE" sz="2400" b="1">
                <a:solidFill>
                  <a:srgbClr val="C00000"/>
                </a:solidFill>
              </a:rPr>
              <a:t>Lehrkraft </a:t>
            </a:r>
            <a:r>
              <a:rPr lang="de-DE" sz="2400">
                <a:solidFill>
                  <a:srgbClr val="C00000"/>
                </a:solidFill>
              </a:rPr>
              <a:t>hat weiterhin die zentrale Rolle bei der Förderung der Schülerinnen und Schüler. KI-Anwendungen werden zur </a:t>
            </a:r>
            <a:r>
              <a:rPr lang="de-DE" sz="2400" b="1">
                <a:solidFill>
                  <a:srgbClr val="C00000"/>
                </a:solidFill>
              </a:rPr>
              <a:t>Unterstützung </a:t>
            </a:r>
            <a:r>
              <a:rPr lang="de-DE" sz="2400">
                <a:solidFill>
                  <a:srgbClr val="C00000"/>
                </a:solidFill>
              </a:rPr>
              <a:t>des Lernens eingesetzt.</a:t>
            </a:r>
            <a:endParaRPr sz="2400"/>
          </a:p>
          <a:p>
            <a:pPr>
              <a:defRPr/>
            </a:pPr>
            <a:endParaRPr lang="de-DE" sz="2400">
              <a:solidFill>
                <a:srgbClr val="C00000"/>
              </a:solidFill>
            </a:endParaRPr>
          </a:p>
          <a:p>
            <a:pPr>
              <a:defRPr/>
            </a:pPr>
            <a:endParaRPr lang="de-DE" sz="2400"/>
          </a:p>
          <a:p>
            <a:pPr>
              <a:defRPr/>
            </a:pPr>
            <a:endParaRPr lang="de-DE" sz="2400"/>
          </a:p>
          <a:p>
            <a:pPr>
              <a:defRPr/>
            </a:pPr>
            <a:endParaRPr lang="de-DE" sz="2400"/>
          </a:p>
          <a:p>
            <a:pPr>
              <a:defRPr/>
            </a:pPr>
            <a:endParaRPr lang="de-DE" sz="2400"/>
          </a:p>
        </p:txBody>
      </p:sp>
      <p:pic>
        <p:nvPicPr>
          <p:cNvPr id="30" name="Grafik 29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388882" y="2656984"/>
            <a:ext cx="1711145" cy="171114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4326" y="731606"/>
            <a:ext cx="9548173" cy="853799"/>
          </a:xfrm>
        </p:spPr>
        <p:txBody>
          <a:bodyPr/>
          <a:lstStyle/>
          <a:p>
            <a:pPr>
              <a:defRPr/>
            </a:pPr>
            <a:r>
              <a:rPr lang="de-DE"/>
              <a:t>KI-Anwendungen zur gezielten Förderung (Grundschule)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613466" y="3714285"/>
            <a:ext cx="2975566" cy="2611588"/>
          </a:xfrm>
        </p:spPr>
        <p:txBody>
          <a:bodyPr lIns="180000" tIns="216000" rIns="180000" bIns="180000"/>
          <a:lstStyle/>
          <a:p>
            <a:pPr marL="0" indent="0">
              <a:buNone/>
              <a:defRPr/>
            </a:pPr>
            <a:r>
              <a:rPr lang="de-DE" sz="1600"/>
              <a:t>Adaptives Lernsystem für Mathematik:</a:t>
            </a:r>
            <a:endParaRPr/>
          </a:p>
          <a:p>
            <a:pPr marL="0" indent="0">
              <a:buNone/>
              <a:defRPr/>
            </a:pPr>
            <a:r>
              <a:rPr lang="de-DE" sz="1600"/>
              <a:t>Schülerinnen und Schüler lösen in kleinen Schritten die Aufgaben, bekommen Hilfe zu den Lösungsschritten und direktes Feedback. </a:t>
            </a:r>
            <a:endParaRPr/>
          </a:p>
          <a:p>
            <a:pPr marL="0" indent="0"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5</a:t>
            </a:fld>
            <a:endParaRPr lang="de-DE"/>
          </a:p>
        </p:txBody>
      </p:sp>
      <p:pic>
        <p:nvPicPr>
          <p:cNvPr id="8" name="Grafik 7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003525" y="233653"/>
            <a:ext cx="975823" cy="975823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 bwMode="auto">
          <a:xfrm>
            <a:off x="9898414" y="6475333"/>
            <a:ext cx="1739259" cy="200685"/>
            <a:chOff x="9898414" y="6475333"/>
            <a:chExt cx="1739259" cy="200685"/>
          </a:xfrm>
        </p:grpSpPr>
        <p:sp>
          <p:nvSpPr>
            <p:cNvPr id="11" name="Foliennummernplatzhalter 5"/>
            <p:cNvSpPr txBox="1"/>
            <p:nvPr/>
          </p:nvSpPr>
          <p:spPr bwMode="auto">
            <a:xfrm>
              <a:off x="9898414" y="6552907"/>
              <a:ext cx="173925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chemeClr val="tx1"/>
                  </a:solidFill>
                </a:rPr>
                <a:t>erstellt am 05.06.2025 mit ChatGPT 4</a:t>
              </a:r>
              <a:endParaRPr>
                <a:solidFill>
                  <a:schemeClr val="tx1"/>
                </a:solidFill>
              </a:endParaRPr>
            </a:p>
          </p:txBody>
        </p:sp>
        <p:cxnSp>
          <p:nvCxnSpPr>
            <p:cNvPr id="12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rcRect t="7647" b="4430"/>
          <a:stretch/>
        </p:blipFill>
        <p:spPr bwMode="auto">
          <a:xfrm>
            <a:off x="1179075" y="1640363"/>
            <a:ext cx="1703663" cy="2246803"/>
          </a:xfrm>
          <a:prstGeom prst="flowChartAlternateProcess">
            <a:avLst/>
          </a:prstGeom>
        </p:spPr>
      </p:pic>
      <p:sp>
        <p:nvSpPr>
          <p:cNvPr id="15" name="Textfeld 14"/>
          <p:cNvSpPr txBox="1"/>
          <p:nvPr/>
        </p:nvSpPr>
        <p:spPr bwMode="auto">
          <a:xfrm rot="11660252">
            <a:off x="1454567" y="3257545"/>
            <a:ext cx="510219" cy="32291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sz="600"/>
              <a:t>336:8=42</a:t>
            </a:r>
            <a:endParaRPr/>
          </a:p>
          <a:p>
            <a:pPr>
              <a:defRPr/>
            </a:pPr>
            <a:r>
              <a:rPr sz="600"/>
              <a:t>320:8=40</a:t>
            </a:r>
            <a:endParaRPr/>
          </a:p>
          <a:p>
            <a:pPr>
              <a:defRPr/>
            </a:pPr>
            <a:r>
              <a:rPr sz="600"/>
              <a:t>  16:8=  2</a:t>
            </a:r>
            <a:endParaRPr/>
          </a:p>
        </p:txBody>
      </p:sp>
      <p:sp>
        <p:nvSpPr>
          <p:cNvPr id="16" name="Textfeld 15"/>
          <p:cNvSpPr txBox="1"/>
          <p:nvPr/>
        </p:nvSpPr>
        <p:spPr bwMode="auto">
          <a:xfrm rot="11718693">
            <a:off x="1906790" y="3312243"/>
            <a:ext cx="444125" cy="322918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sz="600"/>
              <a:t>378:7=54</a:t>
            </a:r>
            <a:endParaRPr/>
          </a:p>
          <a:p>
            <a:pPr>
              <a:defRPr/>
            </a:pPr>
            <a:r>
              <a:rPr sz="600"/>
              <a:t>350:7=50</a:t>
            </a:r>
            <a:endParaRPr/>
          </a:p>
          <a:p>
            <a:pPr>
              <a:defRPr/>
            </a:pPr>
            <a:r>
              <a:rPr sz="600"/>
              <a:t>  28:7=  4</a:t>
            </a:r>
            <a:endParaRPr sz="2400"/>
          </a:p>
        </p:txBody>
      </p:sp>
      <p:sp>
        <p:nvSpPr>
          <p:cNvPr id="27" name="Textplatzhalter 3"/>
          <p:cNvSpPr txBox="1"/>
          <p:nvPr/>
        </p:nvSpPr>
        <p:spPr bwMode="auto">
          <a:xfrm>
            <a:off x="7981920" y="3768043"/>
            <a:ext cx="3655753" cy="2611589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 sz="1600"/>
              <a:t>KI-Werkzeuge können die Schülerinnen und Schüler beim Schreibenlernen unterstützen durch Auswahl geeigneter Übungsformen und direktes Feedback. </a:t>
            </a:r>
            <a:endParaRPr/>
          </a:p>
          <a:p>
            <a:pPr marL="0" indent="0">
              <a:buFont typeface="Arial"/>
              <a:buNone/>
              <a:defRPr/>
            </a:pPr>
            <a:r>
              <a:rPr lang="de-DE" sz="1600"/>
              <a:t>Spezielle KI-gestützte Stifte helfen beim Erlernen einer  entspannten Stifthaltung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</p:txBody>
      </p:sp>
      <p:sp>
        <p:nvSpPr>
          <p:cNvPr id="31" name="Textplatzhalter 3"/>
          <p:cNvSpPr txBox="1"/>
          <p:nvPr/>
        </p:nvSpPr>
        <p:spPr bwMode="auto">
          <a:xfrm>
            <a:off x="4154641" y="3750233"/>
            <a:ext cx="3198267" cy="2611588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 sz="1600"/>
              <a:t>KI-Anwendungen können die Schülerinnen und Schüler beim Lesenlernen unterstützen durch Hilfestellungen und Training der Leseflüssigkeit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985004" y="1675081"/>
            <a:ext cx="1510344" cy="2265517"/>
          </a:xfrm>
          <a:prstGeom prst="flowChartAlternateProcess">
            <a:avLst/>
          </a:prstGeom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8895909" y="1640363"/>
            <a:ext cx="1558159" cy="2337237"/>
          </a:xfrm>
          <a:prstGeom prst="flowChartAlternateProcess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4327" y="751043"/>
            <a:ext cx="10288559" cy="861774"/>
          </a:xfrm>
        </p:spPr>
        <p:txBody>
          <a:bodyPr/>
          <a:lstStyle/>
          <a:p>
            <a:pPr>
              <a:defRPr/>
            </a:pPr>
            <a:r>
              <a:rPr lang="de-DE"/>
              <a:t>KI-Anwendungen zur gezielten Förderung (Sekundarstufe)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734327" y="3730891"/>
            <a:ext cx="3240000" cy="2915281"/>
          </a:xfrm>
        </p:spPr>
        <p:txBody>
          <a:bodyPr lIns="180000" tIns="216000" rIns="180000" bIns="180000"/>
          <a:lstStyle/>
          <a:p>
            <a:pPr marL="0" indent="0">
              <a:buNone/>
              <a:defRPr/>
            </a:pPr>
            <a:r>
              <a:rPr lang="de-DE" sz="1600"/>
              <a:t>Adaptives Lernsystem für Mathematik:</a:t>
            </a:r>
            <a:endParaRPr/>
          </a:p>
          <a:p>
            <a:pPr marL="0" indent="0">
              <a:buNone/>
              <a:defRPr/>
            </a:pPr>
            <a:r>
              <a:rPr lang="de-DE" sz="1600"/>
              <a:t>Schülerinnen und Schüler können in kleinen Schritten die Aufgaben lösen, bekommen Hilfe zu den Lösungsschritten und direktes Feedback. </a:t>
            </a:r>
            <a:endParaRPr/>
          </a:p>
          <a:p>
            <a:pPr marL="0" indent="0"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6</a:t>
            </a:fld>
            <a:endParaRPr lang="de-DE"/>
          </a:p>
        </p:txBody>
      </p:sp>
      <p:pic>
        <p:nvPicPr>
          <p:cNvPr id="8" name="Grafik 7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003525" y="233653"/>
            <a:ext cx="975823" cy="975823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 bwMode="auto">
          <a:xfrm>
            <a:off x="10775219" y="3329848"/>
            <a:ext cx="1027524" cy="262240"/>
            <a:chOff x="10610149" y="6475333"/>
            <a:chExt cx="1027524" cy="262240"/>
          </a:xfrm>
        </p:grpSpPr>
        <p:sp>
          <p:nvSpPr>
            <p:cNvPr id="11" name="Foliennummernplatzhalter 5"/>
            <p:cNvSpPr txBox="1"/>
            <p:nvPr/>
          </p:nvSpPr>
          <p:spPr bwMode="auto">
            <a:xfrm>
              <a:off x="10610149" y="6491352"/>
              <a:ext cx="1027524" cy="24622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chemeClr val="tx1"/>
                  </a:solidFill>
                </a:rPr>
                <a:t>erstellt am 06.06.2025 </a:t>
              </a:r>
              <a:endParaRPr/>
            </a:p>
            <a:p>
              <a:pPr algn="r">
                <a:defRPr/>
              </a:pPr>
              <a:r>
                <a:rPr lang="de-DE">
                  <a:solidFill>
                    <a:schemeClr val="tx1"/>
                  </a:solidFill>
                </a:rPr>
                <a:t>mit ChatGPT 4</a:t>
              </a:r>
              <a:endParaRPr>
                <a:solidFill>
                  <a:schemeClr val="tx1"/>
                </a:solidFill>
              </a:endParaRPr>
            </a:p>
          </p:txBody>
        </p:sp>
        <p:cxnSp>
          <p:nvCxnSpPr>
            <p:cNvPr id="12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platzhalter 3"/>
          <p:cNvSpPr txBox="1"/>
          <p:nvPr/>
        </p:nvSpPr>
        <p:spPr bwMode="auto">
          <a:xfrm>
            <a:off x="7955884" y="3760736"/>
            <a:ext cx="3240000" cy="2915282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de-DE" sz="1600"/>
              <a:t>Die Lernenden können selbst verfasste Texte  mit KI-Anwendungen hinsichtlich Rechtschreibung, Grammatik, Satzbau und Ausdruck verbessern.</a:t>
            </a:r>
            <a:endParaRPr/>
          </a:p>
          <a:p>
            <a:pPr marL="0" indent="0">
              <a:buNone/>
              <a:defRPr/>
            </a:pPr>
            <a:r>
              <a:rPr lang="de-DE" sz="1600"/>
              <a:t>Durch das  personalisierte  Feedback verbessern sie ihre Schreibkompetenzen. 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</p:txBody>
      </p:sp>
      <p:sp>
        <p:nvSpPr>
          <p:cNvPr id="31" name="Textplatzhalter 3"/>
          <p:cNvSpPr txBox="1"/>
          <p:nvPr/>
        </p:nvSpPr>
        <p:spPr bwMode="auto">
          <a:xfrm>
            <a:off x="4324612" y="3733083"/>
            <a:ext cx="3240000" cy="2915282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 sz="1600"/>
              <a:t>Interaktive KI-Anwendungen unterstützen Schülerinnen und Schüler beim Erlernen von Fremdsprachen.</a:t>
            </a:r>
            <a:endParaRPr/>
          </a:p>
          <a:p>
            <a:pPr marL="0" indent="0">
              <a:buNone/>
              <a:defRPr/>
            </a:pPr>
            <a:r>
              <a:rPr lang="de-DE" sz="1600"/>
              <a:t>Durch das KI-System werden die Inhalte an den Lernstand, das Interesse und den Zeitplan des Lernenden angepasst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</p:txBody>
      </p:sp>
      <p:pic>
        <p:nvPicPr>
          <p:cNvPr id="9" name="Grafik 8" descr="Ein Bild, das Zeichnung, Menschliches Gesicht, Entwurf, Cartoon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608213" y="1656697"/>
            <a:ext cx="1492228" cy="2238341"/>
          </a:xfrm>
          <a:prstGeom prst="roundRect">
            <a:avLst>
              <a:gd name="adj" fmla="val 16667"/>
            </a:avLst>
          </a:prstGeom>
          <a:ln>
            <a:noFill/>
          </a:ln>
          <a:effectLst/>
        </p:spPr>
      </p:pic>
      <p:pic>
        <p:nvPicPr>
          <p:cNvPr id="18" name="Grafik 17" descr="Ein Bild, das Entwurf, Zeichnung, Kinderkunst, Darstellung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8876319" y="1640364"/>
            <a:ext cx="1492227" cy="223834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1" name="Grafik 20" descr="Ein Bild, das Büroausstattung, Schreibwaren, Werkzeug, Bürobedarf enthält.&#10;&#10;KI-generierte Inhalte können fehlerhaft sein.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 rot="3350465">
            <a:off x="10127223" y="3371396"/>
            <a:ext cx="282832" cy="424249"/>
          </a:xfrm>
          <a:prstGeom prst="rect">
            <a:avLst/>
          </a:prstGeom>
        </p:spPr>
      </p:pic>
      <p:pic>
        <p:nvPicPr>
          <p:cNvPr id="37" name="Grafik 36" descr="Ein Bild, das Zeichnung, Computer, Cartoon, computer enthält.&#10;&#10;KI-generierte Inhalte können fehlerhaft sein.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4806292" y="1640364"/>
            <a:ext cx="2238340" cy="223834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4327" y="809348"/>
            <a:ext cx="9850885" cy="861774"/>
          </a:xfrm>
        </p:spPr>
        <p:txBody>
          <a:bodyPr/>
          <a:lstStyle/>
          <a:p>
            <a:pPr>
              <a:defRPr/>
            </a:pPr>
            <a:r>
              <a:rPr lang="de-DE"/>
              <a:t>KI-Anwendungen zur Erstellung von multimedialen Inhalten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560514" y="1671122"/>
            <a:ext cx="5183581" cy="4637603"/>
          </a:xfrm>
        </p:spPr>
        <p:txBody>
          <a:bodyPr lIns="180000" tIns="180000" rIns="180000" bIns="180000"/>
          <a:lstStyle/>
          <a:p>
            <a:pPr marL="0" indent="0">
              <a:lnSpc>
                <a:spcPct val="100000"/>
              </a:lnSpc>
              <a:buNone/>
              <a:defRPr/>
            </a:pPr>
            <a:r>
              <a:rPr lang="de-DE" b="1" dirty="0"/>
              <a:t>Podcast: 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de-DE" dirty="0"/>
              <a:t>Die Schülerinnen und Schüler erstellen im Rahmen der Verfassungsviertelstunde kurze Texte zu den im Grundgesetz verankerten Grundrechten und ihrer Bedeutung für den Alltag in der Schule …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de-DE" dirty="0"/>
              <a:t>Die Schülerinnen und Schüler oder die Lehrkraft erstellen daraus mit Hilfe eines passenden KI-Werkzeugs einen Podcast …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de-DE" dirty="0"/>
              <a:t>Hier ein Beispiel … 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dirty="0"/>
          </a:p>
          <a:p>
            <a:pPr marL="0" indent="0">
              <a:spcBef>
                <a:spcPts val="0"/>
              </a:spcBef>
              <a:buNone/>
              <a:defRPr/>
            </a:pPr>
            <a:endParaRPr lang="de-DE" dirty="0"/>
          </a:p>
          <a:p>
            <a:pPr marL="0" indent="0">
              <a:spcBef>
                <a:spcPts val="0"/>
              </a:spcBef>
              <a:buNone/>
              <a:defRPr/>
            </a:pPr>
            <a:endParaRPr lang="de-DE" dirty="0"/>
          </a:p>
          <a:p>
            <a:pPr marL="0" indent="0">
              <a:buNone/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7</a:t>
            </a:fld>
            <a:endParaRPr lang="de-DE"/>
          </a:p>
        </p:txBody>
      </p:sp>
      <p:pic>
        <p:nvPicPr>
          <p:cNvPr id="8" name="Grafik 7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003525" y="233653"/>
            <a:ext cx="975823" cy="975823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11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2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Grafik 12" descr="Ein Bild, das Muster, Quadrat, Pixel, Kreuzworträtsel enthält.&#10;&#10;KI-generierte Inhalte können fehlerhaft sein.">
            <a:hlinkClick r:id="rId4"/>
          </p:cNvPr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3489819" y="4993677"/>
            <a:ext cx="1054975" cy="1054975"/>
          </a:xfrm>
          <a:prstGeom prst="rect">
            <a:avLst/>
          </a:prstGeom>
        </p:spPr>
      </p:pic>
      <p:sp>
        <p:nvSpPr>
          <p:cNvPr id="15" name="Textplatzhalter 3"/>
          <p:cNvSpPr txBox="1"/>
          <p:nvPr/>
        </p:nvSpPr>
        <p:spPr bwMode="auto">
          <a:xfrm>
            <a:off x="6274092" y="1671122"/>
            <a:ext cx="5183581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180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/>
              <a:buNone/>
              <a:defRPr/>
            </a:pPr>
            <a:r>
              <a:rPr lang="de-DE" b="1" dirty="0"/>
              <a:t>Hörspiel: 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r>
              <a:rPr lang="de-DE" dirty="0"/>
              <a:t>Die Schülerinnen und Schüler erstellen im Deutschunterricht mit Hilfe von KI ein Drehbuch für ein Hörspiel mit genauen Angaben zu den Dialogen, Geräuschen und Musikeinspielungen …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r>
              <a:rPr lang="de-DE" dirty="0"/>
              <a:t>Dann sprechen die Schülerinnen und Schüler die Dialoge ein, nehmen die Geräusche und die Musik auf und mischen ihr Hörspiel ab. 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buFont typeface="Arial"/>
              <a:buNone/>
              <a:defRPr/>
            </a:pPr>
            <a:endParaRPr lang="de-DE" dirty="0"/>
          </a:p>
        </p:txBody>
      </p:sp>
      <p:sp>
        <p:nvSpPr>
          <p:cNvPr id="5" name="Foliennummernplatzhalter 5"/>
          <p:cNvSpPr txBox="1"/>
          <p:nvPr/>
        </p:nvSpPr>
        <p:spPr bwMode="auto">
          <a:xfrm>
            <a:off x="3248666" y="6109187"/>
            <a:ext cx="1537280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>
                <a:solidFill>
                  <a:schemeClr val="tx1"/>
                </a:solidFill>
              </a:rPr>
              <a:t>erstellt am 04.06.2025 mit FOBIZZ</a:t>
            </a:r>
            <a:endParaRPr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weitere Materialien</a:t>
            </a:r>
            <a:endParaRPr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8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17" name="Gruppieren 16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18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9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1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grpSp>
        <p:nvGrpSpPr>
          <p:cNvPr id="2" name="Gruppieren 1"/>
          <p:cNvGrpSpPr/>
          <p:nvPr/>
        </p:nvGrpSpPr>
        <p:grpSpPr bwMode="auto">
          <a:xfrm>
            <a:off x="610194" y="1666874"/>
            <a:ext cx="2578982" cy="2182812"/>
            <a:chOff x="0" y="0"/>
            <a:chExt cx="2578982" cy="2182812"/>
          </a:xfrm>
        </p:grpSpPr>
        <p:sp>
          <p:nvSpPr>
            <p:cNvPr id="5" name="Oval 4"/>
            <p:cNvSpPr/>
            <p:nvPr/>
          </p:nvSpPr>
          <p:spPr bwMode="auto">
            <a:xfrm>
              <a:off x="0" y="0"/>
              <a:ext cx="2182812" cy="21828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6" name="Textfeld 5"/>
            <p:cNvSpPr txBox="1"/>
            <p:nvPr/>
          </p:nvSpPr>
          <p:spPr bwMode="auto">
            <a:xfrm>
              <a:off x="521913" y="218280"/>
              <a:ext cx="2057068" cy="366119"/>
            </a:xfrm>
            <a:prstGeom prst="rect">
              <a:avLst/>
            </a:prstGeom>
            <a:noFill/>
          </p:spPr>
          <p:txBody>
            <a:bodyPr vertOverflow="overflow" horzOverflow="overflow" vert="horz" wrap="square" lIns="91440" tIns="45720" rIns="91440" bIns="45720" numCol="1" spcCol="0" rtlCol="0" fromWordArt="0" anchor="t" anchorCtr="0" forceAA="0" compatLnSpc="0">
              <a:spAutoFit/>
            </a:bodyPr>
            <a:lstStyle/>
            <a:p>
              <a:pPr>
                <a:defRPr/>
              </a:pPr>
              <a:r>
                <a:rPr u="sng">
                  <a:hlinkClick r:id="rId3" tooltip="https://www.klicksafe.de/kuenstliche-intelligenz"/>
                </a:rPr>
                <a:t>Klicksafe</a:t>
              </a:r>
              <a:endParaRPr/>
            </a:p>
          </p:txBody>
        </p:sp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4"/>
            <a:stretch/>
          </p:blipFill>
          <p:spPr bwMode="auto">
            <a:xfrm>
              <a:off x="461367" y="634999"/>
              <a:ext cx="1260078" cy="1260078"/>
            </a:xfrm>
            <a:prstGeom prst="rect">
              <a:avLst/>
            </a:prstGeom>
          </p:spPr>
        </p:pic>
      </p:grpSp>
      <p:grpSp>
        <p:nvGrpSpPr>
          <p:cNvPr id="10" name="Gruppieren 9"/>
          <p:cNvGrpSpPr/>
          <p:nvPr/>
        </p:nvGrpSpPr>
        <p:grpSpPr bwMode="auto">
          <a:xfrm>
            <a:off x="2839223" y="3695656"/>
            <a:ext cx="2321718" cy="2321718"/>
            <a:chOff x="0" y="0"/>
            <a:chExt cx="2321718" cy="2321718"/>
          </a:xfrm>
        </p:grpSpPr>
        <p:sp>
          <p:nvSpPr>
            <p:cNvPr id="15" name="Oval 14"/>
            <p:cNvSpPr/>
            <p:nvPr/>
          </p:nvSpPr>
          <p:spPr bwMode="auto">
            <a:xfrm>
              <a:off x="0" y="0"/>
              <a:ext cx="2321718" cy="2321718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6" name="Textfeld 15"/>
            <p:cNvSpPr txBox="1"/>
            <p:nvPr/>
          </p:nvSpPr>
          <p:spPr bwMode="auto">
            <a:xfrm>
              <a:off x="257618" y="327422"/>
              <a:ext cx="1995016" cy="366119"/>
            </a:xfrm>
            <a:prstGeom prst="rect">
              <a:avLst/>
            </a:prstGeom>
            <a:noFill/>
          </p:spPr>
          <p:txBody>
            <a:bodyPr vertOverflow="overflow" horzOverflow="overflow" vert="horz" wrap="square" lIns="91440" tIns="45720" rIns="91440" bIns="45720" numCol="1" spcCol="0" rtlCol="0" fromWordArt="0" anchor="t" anchorCtr="0" forceAA="0" compatLnSpc="0">
              <a:spAutoFit/>
            </a:bodyPr>
            <a:lstStyle/>
            <a:p>
              <a:pPr>
                <a:defRPr/>
              </a:pPr>
              <a:r>
                <a:rPr sz="1600" u="sng">
                  <a:hlinkClick r:id="rId5" tooltip="https://www.km.bayern.de/gestalten/digitalisierung/kuenstliche-intelligenz"/>
                </a:rPr>
                <a:t>Kultusministerium</a:t>
              </a:r>
              <a:endParaRPr sz="1600"/>
            </a:p>
          </p:txBody>
        </p:sp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6"/>
            <a:stretch/>
          </p:blipFill>
          <p:spPr bwMode="auto">
            <a:xfrm>
              <a:off x="486171" y="693541"/>
              <a:ext cx="1349374" cy="1349374"/>
            </a:xfrm>
            <a:prstGeom prst="rect">
              <a:avLst/>
            </a:prstGeom>
          </p:spPr>
        </p:pic>
      </p:grpSp>
      <p:grpSp>
        <p:nvGrpSpPr>
          <p:cNvPr id="21" name="Gruppieren 20"/>
          <p:cNvGrpSpPr/>
          <p:nvPr/>
        </p:nvGrpSpPr>
        <p:grpSpPr bwMode="auto">
          <a:xfrm>
            <a:off x="5391985" y="1330139"/>
            <a:ext cx="2311796" cy="2311796"/>
            <a:chOff x="0" y="0"/>
            <a:chExt cx="2311796" cy="2311796"/>
          </a:xfrm>
        </p:grpSpPr>
        <p:sp>
          <p:nvSpPr>
            <p:cNvPr id="22" name="Oval 21"/>
            <p:cNvSpPr/>
            <p:nvPr/>
          </p:nvSpPr>
          <p:spPr bwMode="auto">
            <a:xfrm>
              <a:off x="0" y="0"/>
              <a:ext cx="2311796" cy="2311796"/>
            </a:xfrm>
            <a:prstGeom prst="ellipse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23" name="Textfeld 22"/>
            <p:cNvSpPr txBox="1"/>
            <p:nvPr/>
          </p:nvSpPr>
          <p:spPr bwMode="auto">
            <a:xfrm>
              <a:off x="496093" y="282773"/>
              <a:ext cx="1351623" cy="366119"/>
            </a:xfrm>
            <a:prstGeom prst="rect">
              <a:avLst/>
            </a:prstGeom>
            <a:noFill/>
          </p:spPr>
          <p:txBody>
            <a:bodyPr vertOverflow="overflow" horzOverflow="overflow" vert="horz" wrap="square" lIns="91440" tIns="45720" rIns="91440" bIns="45720" numCol="1" spcCol="0" rtlCol="0" fromWordArt="0" anchor="t" anchorCtr="0" forceAA="0" compatLnSpc="0">
              <a:spAutoFit/>
            </a:bodyPr>
            <a:lstStyle/>
            <a:p>
              <a:pPr>
                <a:defRPr/>
              </a:pPr>
              <a:r>
                <a:rPr u="sng">
                  <a:hlinkClick r:id="rId7" tooltip="https://www.fragzebra.de/themenwelt/k%C3%BCnstliche-intelligenz"/>
                </a:rPr>
                <a:t>FragZebra</a:t>
              </a:r>
              <a:endParaRPr/>
            </a:p>
          </p:txBody>
        </p:sp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8"/>
            <a:stretch/>
          </p:blipFill>
          <p:spPr bwMode="auto">
            <a:xfrm>
              <a:off x="496093" y="669726"/>
              <a:ext cx="1319609" cy="1319609"/>
            </a:xfrm>
            <a:prstGeom prst="rect">
              <a:avLst/>
            </a:prstGeom>
          </p:spPr>
        </p:pic>
      </p:grpSp>
      <p:grpSp>
        <p:nvGrpSpPr>
          <p:cNvPr id="25" name="Gruppieren 24"/>
          <p:cNvGrpSpPr/>
          <p:nvPr/>
        </p:nvGrpSpPr>
        <p:grpSpPr bwMode="auto">
          <a:xfrm>
            <a:off x="7952933" y="2823026"/>
            <a:ext cx="2450702" cy="2450702"/>
            <a:chOff x="0" y="0"/>
            <a:chExt cx="2450702" cy="2450702"/>
          </a:xfrm>
        </p:grpSpPr>
        <p:sp>
          <p:nvSpPr>
            <p:cNvPr id="26" name="Oval 25"/>
            <p:cNvSpPr/>
            <p:nvPr/>
          </p:nvSpPr>
          <p:spPr bwMode="auto">
            <a:xfrm>
              <a:off x="0" y="0"/>
              <a:ext cx="2450702" cy="2450702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27" name="Textfeld 26"/>
            <p:cNvSpPr txBox="1"/>
            <p:nvPr/>
          </p:nvSpPr>
          <p:spPr bwMode="auto">
            <a:xfrm>
              <a:off x="355722" y="307577"/>
              <a:ext cx="1845828" cy="366119"/>
            </a:xfrm>
            <a:prstGeom prst="rect">
              <a:avLst/>
            </a:prstGeom>
            <a:noFill/>
          </p:spPr>
          <p:txBody>
            <a:bodyPr vertOverflow="overflow" horzOverflow="overflow" vert="horz" wrap="square" lIns="91440" tIns="45720" rIns="91440" bIns="45720" numCol="1" spcCol="0" rtlCol="0" fromWordArt="0" anchor="t" anchorCtr="0" forceAA="0" compatLnSpc="0">
              <a:spAutoFit/>
            </a:bodyPr>
            <a:lstStyle/>
            <a:p>
              <a:pPr>
                <a:defRPr/>
              </a:pPr>
              <a:r>
                <a:rPr lang="de-DE" sz="1800" b="0" i="0" u="sng" strike="noStrike" cap="none" spc="0">
                  <a:solidFill>
                    <a:schemeClr val="tx1"/>
                  </a:solidFill>
                  <a:latin typeface="Arial"/>
                  <a:ea typeface="Arial"/>
                  <a:cs typeface="Arial"/>
                  <a:hlinkClick r:id="rId9" tooltip="https://www.ardaudiothek.de/sendung/der-ki-podcast/94632864/"/>
                </a:rPr>
                <a:t>Der KI-Podcast</a:t>
              </a:r>
              <a:endParaRPr/>
            </a:p>
          </p:txBody>
        </p:sp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10"/>
            <a:stretch/>
          </p:blipFill>
          <p:spPr bwMode="auto">
            <a:xfrm>
              <a:off x="572988" y="728763"/>
              <a:ext cx="1304726" cy="1304726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8441690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4" y="515520"/>
            <a:ext cx="9220972" cy="213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299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 sz="1400" b="0" i="0" u="none" strike="noStrike" cap="none" spc="299">
                <a:solidFill>
                  <a:schemeClr val="bg1">
                    <a:lumMod val="75000"/>
                  </a:schemeClr>
                </a:solidFill>
                <a:latin typeface="Aptos"/>
                <a:ea typeface="Aptos"/>
                <a:cs typeface="Aptos"/>
              </a:rPr>
              <a:t>Künstliche Intelligenz – eine Einführung</a:t>
            </a:r>
            <a:endParaRPr/>
          </a:p>
        </p:txBody>
      </p:sp>
      <p:sp>
        <p:nvSpPr>
          <p:cNvPr id="724725953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7"/>
            <a:ext cx="9218812" cy="4270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99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r>
              <a:t>Quellenangaben:</a:t>
            </a:r>
          </a:p>
        </p:txBody>
      </p:sp>
      <p:sp>
        <p:nvSpPr>
          <p:cNvPr id="977105629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6" y="6552906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33499573-600D-A13C-4129-D899F7DF7906}" type="slidenum">
              <a:rPr lang="de-DE"/>
              <a:t>9</a:t>
            </a:fld>
            <a:endParaRPr lang="de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2A67CD2-16F3-CA94-9C00-0B6C83049B43}"/>
              </a:ext>
            </a:extLst>
          </p:cNvPr>
          <p:cNvSpPr txBox="1"/>
          <p:nvPr/>
        </p:nvSpPr>
        <p:spPr bwMode="auto">
          <a:xfrm>
            <a:off x="498332" y="1379992"/>
            <a:ext cx="9794243" cy="119577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0" indent="0" algn="l">
              <a:buNone/>
              <a:defRPr/>
            </a:pPr>
            <a:r>
              <a:rPr lang="de-DE" dirty="0">
                <a:solidFill>
                  <a:srgbClr val="000000"/>
                </a:solidFill>
                <a:latin typeface="Helvetica"/>
              </a:rPr>
              <a:t>Präsentation: erstellt von ISB, Arbeitskreis Medienerziehung, lizenziert unter </a:t>
            </a:r>
            <a:r>
              <a:rPr lang="de-DE" dirty="0">
                <a:solidFill>
                  <a:srgbClr val="000000"/>
                </a:solidFill>
                <a:latin typeface="Helvetica"/>
                <a:hlinkClick r:id="rId3"/>
              </a:rPr>
              <a:t>CC-BY-NC.4.0</a:t>
            </a:r>
            <a:endParaRPr lang="de-DE" dirty="0">
              <a:solidFill>
                <a:srgbClr val="000000"/>
              </a:solidFill>
              <a:latin typeface="Helvetica"/>
            </a:endParaRPr>
          </a:p>
          <a:p>
            <a:pPr marL="0" indent="0" algn="l">
              <a:buNone/>
              <a:defRPr/>
            </a:pPr>
            <a:r>
              <a:rPr lang="de-DE" dirty="0">
                <a:solidFill>
                  <a:srgbClr val="000000"/>
                </a:solidFill>
                <a:latin typeface="Helvetica"/>
              </a:rPr>
              <a:t>Bilder: KI-generiert mit </a:t>
            </a:r>
            <a:r>
              <a:rPr lang="de-DE" dirty="0" err="1">
                <a:solidFill>
                  <a:srgbClr val="000000"/>
                </a:solidFill>
                <a:latin typeface="Helvetica"/>
              </a:rPr>
              <a:t>ChatGPT</a:t>
            </a:r>
            <a:r>
              <a:rPr lang="de-DE" dirty="0">
                <a:solidFill>
                  <a:srgbClr val="000000"/>
                </a:solidFill>
                <a:latin typeface="Helvetica"/>
              </a:rPr>
              <a:t> 4</a:t>
            </a:r>
          </a:p>
          <a:p>
            <a:pPr marL="0" indent="0" algn="l">
              <a:buNone/>
              <a:defRPr/>
            </a:pPr>
            <a:r>
              <a:rPr lang="de-DE" dirty="0">
                <a:solidFill>
                  <a:srgbClr val="000000"/>
                </a:solidFill>
                <a:latin typeface="Helvetica"/>
              </a:rPr>
              <a:t>Graphiken: soweit nicht anders gekennzeichnet von BLM Stiftung Medienpädagogik Bayern, lizenziert unter </a:t>
            </a:r>
            <a:r>
              <a:rPr lang="de-DE" dirty="0">
                <a:solidFill>
                  <a:srgbClr val="000000"/>
                </a:solidFill>
                <a:latin typeface="Helvetica"/>
                <a:hlinkClick r:id="rId3"/>
              </a:rPr>
              <a:t>CC-BY-NC-4.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115046"/>
      </p:ext>
    </p:extLst>
  </p:cSld>
  <p:clrMapOvr>
    <a:masterClrMapping/>
  </p:clrMapOvr>
</p:sld>
</file>

<file path=ppt/theme/theme1.xml><?xml version="1.0" encoding="utf-8"?>
<a:theme xmlns:a="http://schemas.openxmlformats.org/drawingml/2006/main" name="Inhalt 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over 01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Arial"/>
        <a:cs typeface="Arial"/>
      </a:majorFont>
      <a:minorFont>
        <a:latin typeface="Apto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89</Words>
  <Application>Microsoft Office PowerPoint</Application>
  <DocSecurity>0</DocSecurity>
  <PresentationFormat>Breitbild</PresentationFormat>
  <Paragraphs>212</Paragraphs>
  <Slides>9</Slides>
  <Notes>9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7" baseType="lpstr">
      <vt:lpstr>Aptos</vt:lpstr>
      <vt:lpstr>Arial</vt:lpstr>
      <vt:lpstr>Calibri</vt:lpstr>
      <vt:lpstr>Helvetica</vt:lpstr>
      <vt:lpstr>Segoe UI</vt:lpstr>
      <vt:lpstr>Inhalt </vt:lpstr>
      <vt:lpstr>Cover 01</vt:lpstr>
      <vt:lpstr>oleObj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AK Medienerziehung, ISB</dc:creator>
  <cp:keywords/>
  <dc:description/>
  <cp:lastModifiedBy>Teubner, Markus</cp:lastModifiedBy>
  <cp:revision>169</cp:revision>
  <dcterms:created xsi:type="dcterms:W3CDTF">2024-05-08T06:34:22Z</dcterms:created>
  <dcterms:modified xsi:type="dcterms:W3CDTF">2026-01-16T10:56:38Z</dcterms:modified>
  <cp:category/>
  <dc:identifier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9674CF57E09B4787B28BA164A64369</vt:lpwstr>
  </property>
</Properties>
</file>